
<file path=[Content_Types].xml><?xml version="1.0" encoding="utf-8"?>
<Types xmlns="http://schemas.openxmlformats.org/package/2006/content-types">
  <Default Extension="vml" ContentType="application/vnd.openxmlformats-officedocument.vmlDrawing"/>
  <Default Extension="bin" ContentType="application/vnd.openxmlformats-officedocument.oleObject"/>
  <Default Extension="jpeg" ContentType="image/jpeg"/>
  <Default Extension="JPG" ContentType="image/.jpg"/>
  <Default Extension="png" ContentType="image/png"/>
  <Default Extension="emf" ContentType="image/x-emf"/>
  <Default Extension="tiff" ContentType="image/tiff"/>
  <Default Extension="rels" ContentType="application/vnd.openxmlformats-package.relationships+xml"/>
  <Default Extension="xml" ContentType="application/xml"/>
  <Override PartName="/docProps/app.xml" ContentType="application/vnd.openxmlformats-officedocument.extended-properties+xml"/>
  <Override PartName="/docProps/core.xml" ContentType="application/vnd.openxmlformats-package.core-properties+xml"/>
  <Override PartName="/docProps/custom.xml" ContentType="application/vnd.openxmlformats-officedocument.custom-properties+xml"/>
  <Override PartName="/ppt/commentAuthors.xml" ContentType="application/vnd.openxmlformats-officedocument.presentationml.commentAuthors+xml"/>
  <Override PartName="/ppt/handoutMasters/handoutMaster1.xml" ContentType="application/vnd.openxmlformats-officedocument.presentationml.handoutMaster+xml"/>
  <Override PartName="/ppt/notesMasters/notesMaster1.xml" ContentType="application/vnd.openxmlformats-officedocument.presentationml.notesMaster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presProps.xml" ContentType="application/vnd.openxmlformats-officedocument.presentationml.presProps+xml"/>
  <Override PartName="/ppt/presentation.xml" ContentType="application/vnd.openxmlformats-officedocument.presentationml.presentation.main+xml"/>
  <Override PartName="/ppt/slideLayouts/slideLayout1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tableStyles.xml" ContentType="application/vnd.openxmlformats-officedocument.presentationml.tableStyles+xml"/>
  <Override PartName="/ppt/tags/tag1.xml" ContentType="application/vnd.openxmlformats-officedocument.presentationml.tags+xml"/>
  <Override PartName="/ppt/tags/tag10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tags/tag139.xml" ContentType="application/vnd.openxmlformats-officedocument.presentationml.tags+xml"/>
  <Override PartName="/ppt/tags/tag14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.xml" ContentType="application/vnd.openxmlformats-officedocument.presentationml.tags+xml"/>
  <Override PartName="/ppt/tags/tag170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.xml" ContentType="application/vnd.openxmlformats-officedocument.presentationml.tags+xml"/>
  <Override PartName="/ppt/tags/tag70.xml" ContentType="application/vnd.openxmlformats-officedocument.presentationml.tags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heme/theme1.xml" ContentType="application/vnd.openxmlformats-officedocument.theme+xml"/>
  <Override PartName="/ppt/theme/theme2.xml" ContentType="application/vnd.openxmlformats-officedocument.theme+xml"/>
  <Override PartName="/ppt/theme/theme3.xml" ContentType="application/vnd.openxmlformats-officedocument.theme+xml"/>
  <Override PartName="/ppt/theme/theme4.xml" ContentType="application/vnd.openxmlformats-officedocument.theme+xml"/>
  <Override PartName="/ppt/theme/theme5.xml" ContentType="application/vnd.openxmlformats-officedocument.theme+xml"/>
  <Override PartName="/ppt/theme/theme6.xml" ContentType="application/vnd.openxmlformats-officedocument.theme+xml"/>
  <Override PartName="/ppt/viewProps.xml" ContentType="application/vnd.openxmlformats-officedocument.presentationml.viewProps+xml"/>
</Types>
</file>

<file path=_rels/.rels><?xml version="1.0" encoding="UTF-8" standalone="yes"?>
<Relationships xmlns="http://schemas.openxmlformats.org/package/2006/relationships"><Relationship Id="rId1" Type="http://schemas.openxmlformats.org/officeDocument/2006/relationships/officeDocument" Target="ppt/presentation.xml"/><Relationship Id="rId3" Type="http://schemas.openxmlformats.org/package/2006/relationships/metadata/core-properties" Target="docProps/core.xml"/><Relationship Id="rId2" Type="http://schemas.openxmlformats.org/officeDocument/2006/relationships/extended-properties" Target="docProps/app.xml"/><Relationship Id="rId4" Type="http://schemas.openxmlformats.org/officeDocument/2006/relationships/custom-properties" Target="docProps/custom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>
  <p:sldMasterIdLst>
    <p:sldMasterId id="2147483648" r:id="rId1"/>
    <p:sldMasterId id="2147483649" r:id="rId3"/>
    <p:sldMasterId id="2147483654" r:id="rId4"/>
    <p:sldMasterId id="2147483656" r:id="rId5"/>
  </p:sldMasterIdLst>
  <p:notesMasterIdLst>
    <p:notesMasterId r:id="rId7"/>
  </p:notesMasterIdLst>
  <p:handoutMasterIdLst>
    <p:handoutMasterId r:id="rId13"/>
  </p:handoutMasterIdLst>
  <p:sldIdLst>
    <p:sldId id="16777019" r:id="rId6"/>
    <p:sldId id="16777011" r:id="rId8"/>
    <p:sldId id="16777028" r:id="rId9"/>
    <p:sldId id="16777030" r:id="rId10"/>
    <p:sldId id="16777029" r:id="rId11"/>
    <p:sldId id="16777032" r:id="rId12"/>
  </p:sldIdLst>
  <p:sldSz cx="12196445" cy="6858000"/>
  <p:notesSz cx="6858000" cy="9144000"/>
  <p:custDataLst>
    <p:tags r:id="rId18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Bingru BR3 Wang" initials="BBW" lastIdx="12" clrIdx="0"/>
  <p:cmAuthor id="1" name="Microsoft Office User" initials="MOU" lastIdx="1" clrIdx="0"/>
  <p:cmAuthor id="2" name="作者" initials="作" lastIdx="0" clrIdx="1"/>
  <p:cmAuthor id="3" name="flora" initials="f" lastIdx="9" clrIdx="2"/>
  <p:cmAuthor id="4" name="Kwan Chakman" initials="K" lastIdx="1" clrIdx="2"/>
  <p:cmAuthor id="5" name="cwsun" initials="c" lastIdx="1" clrIdx="2"/>
  <p:cmAuthor id="6" name="koala" initials="k" lastIdx="1" clrIdx="5"/>
  <p:cmAuthor id="7" name="Mac" initials="M" lastIdx="1" clrIdx="6"/>
  <p:cmAuthor id="8" name="long" initials="l" lastIdx="2" clrIdx="7"/>
  <p:cmAuthor id="9" name="史令晓|shilingxiao" initials="A" lastIdx="1" clrIdx="4"/>
  <p:cmAuthor id="10" name="pc" initials="p" lastIdx="1" clrIdx="8"/>
  <p:cmAuthor id="11" name="未知用户1" initials="未知用户1" lastIdx="16" clrIdx="10"/>
  <p:cmAuthor id="12" name="10064906" initials="1" lastIdx="8" clrIdx="11"/>
  <p:cmAuthor id="13" name="马云飞10014438" initials="马" lastIdx="4" clrIdx="0"/>
  <p:cmAuthor id="14" name="10077969" initials="10077969" lastIdx="2" clrIdx="13"/>
  <p:cmAuthor id="15" name="10025093" initials="1" lastIdx="51" clrIdx="14"/>
  <p:cmAuthor id="16" name="10078380" initials="1" lastIdx="1" clrIdx="15"/>
  <p:cmAuthor id="17" name="00035181" initials="0" lastIdx="1" clrIdx="16"/>
  <p:cmAuthor id="18" name="张燕" initials="MSOffice" lastIdx="1" clrIdx="17"/>
  <p:cmAuthor id="20" name="00065088" initials="0" lastIdx="2" clrIdx="19"/>
  <p:cmAuthor id="21" name="10066351" initials="1" lastIdx="2" clrIdx="0"/>
  <p:cmAuthor id="22" name="蔡建楠" initials="caijianna" lastIdx="15" clrIdx="17"/>
  <p:cmAuthor id="2001" name="骆倩怡_Znauj26B" initials="authorId_382814100" lastIdx="0" clrIdx="0"/>
  <p:cmAuthor id="23" name="赵诚荣10027092" initials="赵" lastIdx="2" clrIdx="25"/>
  <p:cmAuthor id="24" name="李蕾00009994" initials="李" lastIdx="6" clrIdx="17"/>
  <p:cmAuthor id="25" name="wyz" initials="w" lastIdx="1" clrIdx="24"/>
  <p:cmAuthor id="26" name="10270945" initials="1" lastIdx="2" clrIdx="25"/>
  <p:cmAuthor id="27" name="10295142" initials="1" lastIdx="1" clrIdx="26"/>
  <p:cmAuthor id="28" name="Hou Yingfeng" initials="H" lastIdx="10" clrIdx="23"/>
  <p:cmAuthor id="31" name="Author" initials="A" lastIdx="0" clrIdx="30"/>
  <p:cmAuthor id="32" name="李楠10047711" initials="李楠10047711" lastIdx="2" clrIdx="31"/>
  <p:cmAuthor id="33" name="610007" initials="6" lastIdx="0" clrIdx="32"/>
  <p:cmAuthor id="34" name="taiji" initials="t" lastIdx="16" clrIdx="33"/>
  <p:cmAuthor id="78" name="Administrator" initials="N" lastIdx="1" clrIdx="2"/>
  <p:cmAuthor id="35" name="zsrj" initials="z" lastIdx="1" clrIdx="34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FFFF"/>
    <a:srgbClr val="C00000"/>
    <a:srgbClr val="F66F6A"/>
    <a:srgbClr val="F7A655"/>
    <a:srgbClr val="000000"/>
    <a:srgbClr val="E9002F"/>
    <a:srgbClr val="595757"/>
    <a:srgbClr val="221815"/>
    <a:srgbClr val="888888"/>
    <a:srgbClr val="898989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</p:extLst>
</p:presentationPr>
</file>

<file path=ppt/tableStyles.xml><?xml version="1.0" encoding="utf-8"?>
<a:tblStyleLst xmlns:a="http://schemas.openxmlformats.org/drawingml/2006/main" def="{72833802-FEF1-4C79-8D5D-14CF1EAF98D9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24" autoAdjust="0"/>
    <p:restoredTop sz="96203" autoAdjust="0"/>
  </p:normalViewPr>
  <p:slideViewPr>
    <p:cSldViewPr snapToGrid="0" snapToObjects="1">
      <p:cViewPr varScale="1">
        <p:scale>
          <a:sx n="82" d="100"/>
          <a:sy n="82" d="100"/>
        </p:scale>
        <p:origin x="52" y="216"/>
      </p:cViewPr>
      <p:guideLst/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3" d="2"/>
        <a:sy n="3" d="2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 snapToObjects="1">
      <p:cViewPr varScale="1">
        <p:scale>
          <a:sx n="96" d="100"/>
          <a:sy n="96" d="100"/>
        </p:scale>
        <p:origin x="3104" y="168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9" Type="http://schemas.openxmlformats.org/officeDocument/2006/relationships/slide" Target="slides/slide3.xml"/><Relationship Id="rId8" Type="http://schemas.openxmlformats.org/officeDocument/2006/relationships/slide" Target="slides/slide2.xml"/><Relationship Id="rId7" Type="http://schemas.openxmlformats.org/officeDocument/2006/relationships/notesMaster" Target="notesMasters/notesMaster1.xml"/><Relationship Id="rId6" Type="http://schemas.openxmlformats.org/officeDocument/2006/relationships/slide" Target="slides/slide1.xml"/><Relationship Id="rId5" Type="http://schemas.openxmlformats.org/officeDocument/2006/relationships/slideMaster" Target="slideMasters/slideMaster4.xml"/><Relationship Id="rId4" Type="http://schemas.openxmlformats.org/officeDocument/2006/relationships/slideMaster" Target="slideMasters/slideMaster3.xml"/><Relationship Id="rId3" Type="http://schemas.openxmlformats.org/officeDocument/2006/relationships/slideMaster" Target="slideMasters/slideMaster2.xml"/><Relationship Id="rId2" Type="http://schemas.openxmlformats.org/officeDocument/2006/relationships/theme" Target="theme/theme1.xml"/><Relationship Id="rId18" Type="http://schemas.openxmlformats.org/officeDocument/2006/relationships/tags" Target="tags/tag170.xml"/><Relationship Id="rId17" Type="http://schemas.openxmlformats.org/officeDocument/2006/relationships/commentAuthors" Target="commentAuthors.xml"/><Relationship Id="rId16" Type="http://schemas.openxmlformats.org/officeDocument/2006/relationships/tableStyles" Target="tableStyles.xml"/><Relationship Id="rId15" Type="http://schemas.openxmlformats.org/officeDocument/2006/relationships/viewProps" Target="viewProps.xml"/><Relationship Id="rId14" Type="http://schemas.openxmlformats.org/officeDocument/2006/relationships/presProps" Target="presProps.xml"/><Relationship Id="rId13" Type="http://schemas.openxmlformats.org/officeDocument/2006/relationships/handoutMaster" Target="handoutMasters/handoutMaster1.xml"/><Relationship Id="rId12" Type="http://schemas.openxmlformats.org/officeDocument/2006/relationships/slide" Target="slides/slide6.xml"/><Relationship Id="rId11" Type="http://schemas.openxmlformats.org/officeDocument/2006/relationships/slide" Target="slides/slide5.xml"/><Relationship Id="rId10" Type="http://schemas.openxmlformats.org/officeDocument/2006/relationships/slide" Target="slides/slide4.xml"/><Relationship Id="rId1" Type="http://schemas.openxmlformats.org/officeDocument/2006/relationships/slideMaster" Target="slideMasters/slideMaster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3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E8CF71B8-DF2A-2E41-BE66-2E18A767DA8A}" type="datetimeFigureOut">
              <a:rPr lang="en-US" smtClean="0"/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A35F0CC5-85BE-A64A-BD47-54C66F7E93E3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0DD60A27-BF12-6744-9E93-932A0E34D8BB}" type="datetimeFigureOut">
              <a:rPr lang="en-US" smtClean="0"/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  <a:endParaRPr lang="en-US"/>
          </a:p>
          <a:p>
            <a:pPr lvl="1"/>
            <a:r>
              <a:rPr lang="en-US"/>
              <a:t>Second level</a:t>
            </a:r>
            <a:endParaRPr lang="en-US"/>
          </a:p>
          <a:p>
            <a:pPr lvl="2"/>
            <a:r>
              <a:rPr lang="en-US"/>
              <a:t>Third level</a:t>
            </a:r>
            <a:endParaRPr lang="en-US"/>
          </a:p>
          <a:p>
            <a:pPr lvl="3"/>
            <a:r>
              <a:rPr lang="en-US"/>
              <a:t>Fourth level</a:t>
            </a:r>
            <a:endParaRPr lang="en-US"/>
          </a:p>
          <a:p>
            <a:pPr lvl="4"/>
            <a:r>
              <a:rPr lang="en-US"/>
              <a:t>Fifth level</a:t>
            </a:r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F07326F3-4732-B74B-9C70-D0992466E499}" type="slidenum">
              <a:rPr lang="en-US" smtClean="0"/>
            </a:fld>
            <a:endParaRPr lang="en-US"/>
          </a:p>
        </p:txBody>
      </p:sp>
    </p:spTree>
  </p:cSld>
  <p:clrMap bg1="lt1" tx1="dk1" bg2="lt2" tx2="dk2" accent1="accent1" accent2="accent2" accent3="accent3" accent4="accent4" accent5="accent5" accent6="accent6" hlink="hlink" folHlink="folHlink"/>
  <p:notesStyle>
    <a:lvl1pPr marL="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1pPr>
    <a:lvl2pPr marL="6096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2pPr>
    <a:lvl3pPr marL="12192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3pPr>
    <a:lvl4pPr marL="18288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4pPr>
    <a:lvl5pPr marL="24384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5pPr>
    <a:lvl6pPr marL="30480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6pPr>
    <a:lvl7pPr marL="3657600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7pPr>
    <a:lvl8pPr marL="4267835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8pPr>
    <a:lvl9pPr marL="4877435" algn="l" defTabSz="1219200" rtl="0" eaLnBrk="1" latinLnBrk="0" hangingPunct="1">
      <a:defRPr sz="16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2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notesMaster" Target="../notesMasters/notesMaster1.xml"/><Relationship Id="rId1" Type="http://schemas.openxmlformats.org/officeDocument/2006/relationships/slide" Target="../slides/slide3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07326F3-4732-B74B-9C70-D0992466E4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07326F3-4732-B74B-9C70-D0992466E4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幻灯片图像占位符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备注占位符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zh-CN" altLang="en-US" dirty="0"/>
          </a:p>
        </p:txBody>
      </p:sp>
      <p:sp>
        <p:nvSpPr>
          <p:cNvPr id="4" name="灯片编号占位符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F07326F3-4732-B74B-9C70-D0992466E499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Calibri" panose="020F0502020204030204"/>
                <a:ea typeface="+mn-ea"/>
                <a:cs typeface="+mn-cs"/>
              </a:rPr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</p:spTree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346848" y="333380"/>
            <a:ext cx="11511778" cy="574675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5"/>
              </a:lnSpc>
              <a:spcBef>
                <a:spcPts val="0"/>
              </a:spcBef>
              <a:buNone/>
              <a:defRPr sz="2400" b="1" baseline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93090" indent="0" algn="ctr">
              <a:buNone/>
              <a:defRPr sz="2595"/>
            </a:lvl2pPr>
            <a:lvl3pPr marL="1186180" indent="0" algn="ctr">
              <a:buNone/>
              <a:defRPr sz="2335"/>
            </a:lvl3pPr>
            <a:lvl4pPr marL="1779905" indent="0" algn="ctr">
              <a:buNone/>
              <a:defRPr sz="2075"/>
            </a:lvl4pPr>
            <a:lvl5pPr marL="2372995" indent="0" algn="ctr">
              <a:buNone/>
              <a:defRPr sz="2075"/>
            </a:lvl5pPr>
            <a:lvl6pPr marL="2966085" indent="0" algn="ctr">
              <a:buNone/>
              <a:defRPr sz="2075"/>
            </a:lvl6pPr>
            <a:lvl7pPr marL="3559175" indent="0" algn="ctr">
              <a:buNone/>
              <a:defRPr sz="2075"/>
            </a:lvl7pPr>
            <a:lvl8pPr marL="4152900" indent="0" algn="ctr">
              <a:buNone/>
              <a:defRPr sz="2075"/>
            </a:lvl8pPr>
            <a:lvl9pPr marL="4745990" indent="0" algn="ctr">
              <a:buNone/>
              <a:defRPr sz="2075"/>
            </a:lvl9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</p:spTree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glish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English text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标题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1824"/>
          <p:cNvSpPr>
            <a:spLocks noChangeArrowheads="1"/>
          </p:cNvSpPr>
          <p:nvPr/>
        </p:nvSpPr>
        <p:spPr bwMode="auto">
          <a:xfrm>
            <a:off x="695579" y="231775"/>
            <a:ext cx="76228" cy="358775"/>
          </a:xfrm>
          <a:prstGeom prst="rect">
            <a:avLst/>
          </a:prstGeom>
          <a:gradFill rotWithShape="0">
            <a:gsLst>
              <a:gs pos="0">
                <a:srgbClr val="104CC7">
                  <a:alpha val="0"/>
                </a:srgbClr>
              </a:gs>
              <a:gs pos="100000">
                <a:srgbClr val="104CC7"/>
              </a:gs>
            </a:gsLst>
            <a:lin ang="5400000"/>
          </a:gradFill>
          <a:ln>
            <a:noFill/>
          </a:ln>
        </p:spPr>
        <p:txBody>
          <a:bodyPr/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l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endParaRPr kumimoji="0" lang="zh-CN" altLang="en-US" sz="1800" b="0" i="0" u="none" strike="noStrike" kern="1200" cap="none" spc="0" normalizeH="0" baseline="0" noProof="0" dirty="0">
              <a:ln>
                <a:noFill/>
              </a:ln>
              <a:solidFill>
                <a:schemeClr val="tx1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cxnSp>
        <p:nvCxnSpPr>
          <p:cNvPr id="8" name="直接连接符 7"/>
          <p:cNvCxnSpPr/>
          <p:nvPr/>
        </p:nvCxnSpPr>
        <p:spPr>
          <a:xfrm>
            <a:off x="-13975" y="6505575"/>
            <a:ext cx="710189" cy="0"/>
          </a:xfrm>
          <a:prstGeom prst="line">
            <a:avLst/>
          </a:prstGeom>
          <a:ln>
            <a:gradFill>
              <a:gsLst>
                <a:gs pos="0">
                  <a:srgbClr val="104CC7">
                    <a:alpha val="0"/>
                  </a:srgbClr>
                </a:gs>
                <a:gs pos="100000">
                  <a:srgbClr val="104CC7"/>
                </a:gs>
              </a:gsLst>
              <a:lin ang="1080000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9" name="直接连接符 8"/>
          <p:cNvCxnSpPr/>
          <p:nvPr/>
        </p:nvCxnSpPr>
        <p:spPr>
          <a:xfrm flipV="1">
            <a:off x="3384145" y="6510654"/>
            <a:ext cx="8812300" cy="3770"/>
          </a:xfrm>
          <a:prstGeom prst="line">
            <a:avLst/>
          </a:prstGeom>
          <a:ln>
            <a:gradFill>
              <a:gsLst>
                <a:gs pos="0">
                  <a:srgbClr val="104CC7">
                    <a:alpha val="0"/>
                  </a:srgbClr>
                </a:gs>
                <a:gs pos="100000">
                  <a:srgbClr val="104CC7"/>
                </a:gs>
              </a:gsLst>
              <a:lin ang="0" scaled="1"/>
            </a:gra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文本框 9"/>
          <p:cNvSpPr txBox="1">
            <a:spLocks noChangeArrowheads="1"/>
          </p:cNvSpPr>
          <p:nvPr/>
        </p:nvSpPr>
        <p:spPr bwMode="auto">
          <a:xfrm>
            <a:off x="711785" y="6375400"/>
            <a:ext cx="2656205" cy="275590"/>
          </a:xfrm>
          <a:prstGeom prst="rect">
            <a:avLst/>
          </a:prstGeom>
          <a:noFill/>
          <a:ln>
            <a:noFill/>
          </a:ln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1pPr>
            <a:lvl2pPr marL="742950" indent="-285750"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2pPr>
            <a:lvl3pPr marL="1143000" indent="-228600"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3pPr>
            <a:lvl4pPr marL="1600200" indent="-228600"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4pPr>
            <a:lvl5pPr marL="2057400" indent="-228600"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Verdana" panose="020B0604030504040204" pitchFamily="34" charset="0"/>
                <a:ea typeface="微软雅黑" panose="020B0503020204020204" pitchFamily="34" charset="-122"/>
              </a:defRPr>
            </a:lvl9pPr>
          </a:lstStyle>
          <a:p>
            <a:pPr marL="0" marR="0" lvl="0" indent="0" algn="ctr" defTabSz="914400" rtl="0" eaLnBrk="1" fontAlgn="base" latinLnBrk="0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ClrTx/>
              <a:buSzTx/>
              <a:buFontTx/>
              <a:buNone/>
              <a:defRPr/>
            </a:pPr>
            <a:r>
              <a:rPr kumimoji="0" lang="en-US" altLang="zh-CN" sz="1200" b="1" i="0" u="none" strike="noStrike" kern="1200" cap="none" spc="0" normalizeH="0" baseline="0" noProof="0" dirty="0">
                <a:ln>
                  <a:noFill/>
                </a:ln>
                <a:solidFill>
                  <a:srgbClr val="104CC7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ENVISION THE FUTURE WITH AI</a:t>
            </a:r>
            <a:endParaRPr kumimoji="0" lang="en-US" altLang="zh-CN" sz="1200" b="1" i="0" u="none" strike="noStrike" kern="1200" cap="none" spc="0" normalizeH="0" baseline="0" noProof="0" dirty="0">
              <a:ln>
                <a:noFill/>
              </a:ln>
              <a:solidFill>
                <a:srgbClr val="104CC7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13" name="标题 12"/>
          <p:cNvSpPr>
            <a:spLocks noGrp="1"/>
          </p:cNvSpPr>
          <p:nvPr>
            <p:ph type="title"/>
          </p:nvPr>
        </p:nvSpPr>
        <p:spPr>
          <a:xfrm>
            <a:off x="913463" y="194945"/>
            <a:ext cx="4618133" cy="520065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2000">
                <a:solidFill>
                  <a:srgbClr val="104CC7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fontAlgn="base"/>
            <a:r>
              <a:rPr lang="zh-CN" altLang="en-US" strike="noStrike" noProof="1"/>
              <a:t>单击此处编辑母版标题样式</a:t>
            </a:r>
            <a:endParaRPr lang="zh-CN" altLang="en-US" strike="noStrike" noProof="1"/>
          </a:p>
        </p:txBody>
      </p:sp>
      <p:sp>
        <p:nvSpPr>
          <p:cNvPr id="11" name="灯片编号占位符 4"/>
          <p:cNvSpPr>
            <a:spLocks noGrp="1"/>
          </p:cNvSpPr>
          <p:nvPr>
            <p:ph type="sldNum" sz="quarter" idx="4"/>
          </p:nvPr>
        </p:nvSpPr>
        <p:spPr>
          <a:xfrm>
            <a:off x="10798936" y="236538"/>
            <a:ext cx="789276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>
                <a:latin typeface="微软雅黑" panose="020B0503020204020204" pitchFamily="34" charset="-122"/>
              </a:defRPr>
            </a:lvl1pPr>
          </a:lstStyle>
          <a:p>
            <a:pPr fontAlgn="base"/>
            <a:fld id="{9A0DB2DC-4C9A-4742-B13C-FB6460FD3503}" type="slidenum">
              <a:rPr lang="zh-CN" altLang="en-US" sz="1600" b="1" noProof="1" smtClean="0"/>
            </a:fld>
            <a:endParaRPr lang="zh-CN" altLang="en-US" sz="1600" b="1" noProof="1"/>
          </a:p>
        </p:txBody>
      </p:sp>
      <p:sp>
        <p:nvSpPr>
          <p:cNvPr id="2" name="日期占位符 1"/>
          <p:cNvSpPr>
            <a:spLocks noGrp="1"/>
          </p:cNvSpPr>
          <p:nvPr>
            <p:ph type="dt" sz="half" idx="10"/>
          </p:nvPr>
        </p:nvSpPr>
        <p:spPr>
          <a:xfrm>
            <a:off x="838506" y="6356350"/>
            <a:ext cx="2744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>
                <a:latin typeface="微软雅黑" panose="020B0503020204020204" pitchFamily="34" charset="-122"/>
              </a:defRPr>
            </a:lvl1pPr>
          </a:lstStyle>
          <a:p>
            <a:pPr>
              <a:defRPr/>
            </a:pPr>
            <a:fld id="{15680D99-F626-4B11-A204-B3EF96E6FE94}" type="datetimeFigureOut">
              <a:rPr lang="zh-CN" altLang="en-US" smtClean="0">
                <a:cs typeface="微软雅黑" panose="020B0503020204020204" pitchFamily="34" charset="-122"/>
              </a:rPr>
            </a:fld>
            <a:endParaRPr lang="zh-CN" altLang="en-US" dirty="0">
              <a:cs typeface="微软雅黑" panose="020B0503020204020204" pitchFamily="34" charset="-122"/>
            </a:endParaRPr>
          </a:p>
        </p:txBody>
      </p:sp>
      <p:sp>
        <p:nvSpPr>
          <p:cNvPr id="3" name="页脚占位符 2"/>
          <p:cNvSpPr>
            <a:spLocks noGrp="1"/>
          </p:cNvSpPr>
          <p:nvPr>
            <p:ph type="ftr" sz="quarter" idx="11"/>
          </p:nvPr>
        </p:nvSpPr>
        <p:spPr>
          <a:xfrm>
            <a:off x="4040072" y="6356350"/>
            <a:ext cx="41163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>
              <a:defRPr>
                <a:latin typeface="微软雅黑" panose="020B0503020204020204" pitchFamily="34" charset="-122"/>
              </a:defRPr>
            </a:lvl1pPr>
          </a:lstStyle>
          <a:p>
            <a:pPr>
              <a:defRPr/>
            </a:pPr>
            <a:endParaRPr lang="zh-CN" altLang="en-US" dirty="0">
              <a:cs typeface="微软雅黑" panose="020B0503020204020204" pitchFamily="34" charset="-122"/>
            </a:endParaRPr>
          </a:p>
        </p:txBody>
      </p:sp>
    </p:spTree>
  </p:cSld>
  <p:clrMapOvr>
    <a:masterClrMapping/>
  </p:clrMapOvr>
  <p:hf hdr="0" dt="0"/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标题和内容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7" name="矩形 26"/>
          <p:cNvSpPr/>
          <p:nvPr userDrawn="1"/>
        </p:nvSpPr>
        <p:spPr>
          <a:xfrm>
            <a:off x="-108625" y="-103505"/>
            <a:ext cx="12414329" cy="7065010"/>
          </a:xfrm>
          <a:prstGeom prst="rect">
            <a:avLst/>
          </a:prstGeom>
          <a:gradFill>
            <a:gsLst>
              <a:gs pos="0">
                <a:srgbClr val="006098">
                  <a:alpha val="0"/>
                </a:srgbClr>
              </a:gs>
              <a:gs pos="99000">
                <a:srgbClr val="006098">
                  <a:alpha val="5000"/>
                </a:srgbClr>
              </a:gs>
            </a:gsLst>
            <a:lin ang="2700000" scaled="0"/>
          </a:gra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altLang="zh-CN"/>
              <a:t>v</a:t>
            </a:r>
            <a:endParaRPr lang="en-US" altLang="zh-CN"/>
          </a:p>
        </p:txBody>
      </p:sp>
    </p:spTree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探索">
    <p:bg>
      <p:bgPr>
        <a:blipFill dpi="0" rotWithShape="1">
          <a:blip r:embed="rId2" cstate="screen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L 形 6"/>
          <p:cNvSpPr/>
          <p:nvPr userDrawn="1"/>
        </p:nvSpPr>
        <p:spPr>
          <a:xfrm rot="5400000">
            <a:off x="7853942" y="2130562"/>
            <a:ext cx="701032" cy="717936"/>
          </a:xfrm>
          <a:prstGeom prst="corner">
            <a:avLst>
              <a:gd name="adj1" fmla="val 3243"/>
              <a:gd name="adj2" fmla="val 3048"/>
            </a:avLst>
          </a:prstGeom>
          <a:solidFill>
            <a:srgbClr val="C7000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kumimoji="1" lang="zh-CN" altLang="en-US" sz="900"/>
          </a:p>
        </p:txBody>
      </p:sp>
      <p:sp>
        <p:nvSpPr>
          <p:cNvPr id="10" name="Title 1"/>
          <p:cNvSpPr>
            <a:spLocks noGrp="1"/>
          </p:cNvSpPr>
          <p:nvPr>
            <p:ph type="ctrTitle" hasCustomPrompt="1"/>
          </p:nvPr>
        </p:nvSpPr>
        <p:spPr>
          <a:xfrm>
            <a:off x="898996" y="907092"/>
            <a:ext cx="6559809" cy="690255"/>
          </a:xfrm>
          <a:prstGeom prst="rect">
            <a:avLst/>
          </a:prstGeom>
          <a:ln>
            <a:noFill/>
            <a:prstDash val="dash"/>
          </a:ln>
        </p:spPr>
        <p:txBody>
          <a:bodyPr lIns="0" tIns="0" rIns="0" bIns="0" anchor="t">
            <a:normAutofit/>
          </a:bodyPr>
          <a:lstStyle>
            <a:lvl1pPr algn="l">
              <a:defRPr sz="3200" b="0" i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添加标题</a:t>
            </a:r>
            <a:endParaRPr lang="en-US" dirty="0"/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0" hasCustomPrompt="1"/>
          </p:nvPr>
        </p:nvSpPr>
        <p:spPr>
          <a:xfrm>
            <a:off x="929260" y="1949372"/>
            <a:ext cx="6535842" cy="643926"/>
          </a:xfrm>
          <a:prstGeom prst="rect">
            <a:avLst/>
          </a:prstGeom>
        </p:spPr>
        <p:txBody>
          <a:bodyPr lIns="0" tIns="0" rIns="0" bIns="0"/>
          <a:lstStyle>
            <a:lvl1pPr>
              <a:defRPr sz="14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添加文本</a:t>
            </a:r>
            <a:endParaRPr lang="en-US" dirty="0"/>
          </a:p>
        </p:txBody>
      </p:sp>
      <p:sp>
        <p:nvSpPr>
          <p:cNvPr id="9" name="Text Placeholder 5"/>
          <p:cNvSpPr>
            <a:spLocks noGrp="1"/>
          </p:cNvSpPr>
          <p:nvPr>
            <p:ph type="body" sz="quarter" idx="11"/>
          </p:nvPr>
        </p:nvSpPr>
        <p:spPr>
          <a:xfrm>
            <a:off x="913588" y="6227190"/>
            <a:ext cx="1617170" cy="322753"/>
          </a:xfrm>
          <a:prstGeom prst="rect">
            <a:avLst/>
          </a:prstGeom>
        </p:spPr>
        <p:txBody>
          <a:bodyPr lIns="0" tIns="0" rIns="0" bIns="0"/>
          <a:lstStyle>
            <a:lvl1pPr>
              <a:defRPr sz="900">
                <a:solidFill>
                  <a:schemeClr val="tx1"/>
                </a:solidFill>
              </a:defRPr>
            </a:lvl1pPr>
          </a:lstStyle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</p:txBody>
      </p:sp>
    </p:spTree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章节页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ubtitle 2"/>
          <p:cNvSpPr>
            <a:spLocks noGrp="1"/>
          </p:cNvSpPr>
          <p:nvPr>
            <p:ph type="subTitle" idx="1" hasCustomPrompt="1"/>
          </p:nvPr>
        </p:nvSpPr>
        <p:spPr>
          <a:xfrm>
            <a:off x="729175" y="456134"/>
            <a:ext cx="10740640" cy="426516"/>
          </a:xfrm>
          <a:prstGeom prst="rect">
            <a:avLst/>
          </a:prstGeom>
        </p:spPr>
        <p:txBody>
          <a:bodyPr lIns="0" tIns="0" rIns="0" bIns="0" anchor="t">
            <a:normAutofit/>
          </a:bodyPr>
          <a:lstStyle>
            <a:lvl1pPr marL="0" indent="0" algn="l">
              <a:lnSpc>
                <a:spcPts val="3425"/>
              </a:lnSpc>
              <a:spcBef>
                <a:spcPts val="0"/>
              </a:spcBef>
              <a:buNone/>
              <a:defRPr sz="2795" baseline="0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  <a:lvl2pPr marL="593090" indent="0" algn="ctr">
              <a:buNone/>
              <a:defRPr sz="2595"/>
            </a:lvl2pPr>
            <a:lvl3pPr marL="1186180" indent="0" algn="ctr">
              <a:buNone/>
              <a:defRPr sz="2335"/>
            </a:lvl3pPr>
            <a:lvl4pPr marL="1779270" indent="0" algn="ctr">
              <a:buNone/>
              <a:defRPr sz="2075"/>
            </a:lvl4pPr>
            <a:lvl5pPr marL="2372995" indent="0" algn="ctr">
              <a:buNone/>
              <a:defRPr sz="2075"/>
            </a:lvl5pPr>
            <a:lvl6pPr marL="2966085" indent="0" algn="ctr">
              <a:buNone/>
              <a:defRPr sz="2075"/>
            </a:lvl6pPr>
            <a:lvl7pPr marL="3559175" indent="0" algn="ctr">
              <a:buNone/>
              <a:defRPr sz="2075"/>
            </a:lvl7pPr>
            <a:lvl8pPr marL="4152265" indent="0" algn="ctr">
              <a:buNone/>
              <a:defRPr sz="2075"/>
            </a:lvl8pPr>
            <a:lvl9pPr marL="4745355" indent="0" algn="ctr">
              <a:buNone/>
              <a:defRPr sz="2075"/>
            </a:lvl9pPr>
          </a:lstStyle>
          <a:p>
            <a:r>
              <a:rPr lang="zh-CN" altLang="en-US"/>
              <a:t>单击此处添加标题</a:t>
            </a:r>
            <a:endParaRPr lang="en-US" dirty="0"/>
          </a:p>
        </p:txBody>
      </p:sp>
    </p:spTree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标题 1"/>
          <p:cNvSpPr>
            <a:spLocks noGrp="1"/>
          </p:cNvSpPr>
          <p:nvPr>
            <p:ph type="title"/>
          </p:nvPr>
        </p:nvSpPr>
        <p:spPr>
          <a:xfrm>
            <a:off x="394635" y="269517"/>
            <a:ext cx="11802127" cy="587141"/>
          </a:xfrm>
          <a:prstGeom prst="rect">
            <a:avLst/>
          </a:prstGeom>
        </p:spPr>
        <p:txBody>
          <a:bodyPr anchor="ctr" anchorCtr="0"/>
          <a:lstStyle>
            <a:lvl1pPr>
              <a:defRPr sz="2395" b="1">
                <a:solidFill>
                  <a:srgbClr val="99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仅标题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标题 1"/>
          <p:cNvSpPr>
            <a:spLocks noGrp="1"/>
          </p:cNvSpPr>
          <p:nvPr>
            <p:ph type="title"/>
          </p:nvPr>
        </p:nvSpPr>
        <p:spPr>
          <a:xfrm>
            <a:off x="459807" y="370951"/>
            <a:ext cx="10519708" cy="461912"/>
          </a:xfrm>
          <a:prstGeom prst="rect">
            <a:avLst/>
          </a:prstGeom>
        </p:spPr>
        <p:txBody>
          <a:bodyPr/>
          <a:lstStyle>
            <a:lvl1pPr>
              <a:defRPr sz="24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自定义版式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文本占位符 9"/>
          <p:cNvSpPr>
            <a:spLocks noGrp="1"/>
          </p:cNvSpPr>
          <p:nvPr>
            <p:ph type="body" sz="quarter" idx="11" hasCustomPrompt="1"/>
          </p:nvPr>
        </p:nvSpPr>
        <p:spPr>
          <a:xfrm>
            <a:off x="517526" y="368302"/>
            <a:ext cx="11158538" cy="461661"/>
          </a:xfrm>
          <a:prstGeom prst="rect">
            <a:avLst/>
          </a:prstGeom>
        </p:spPr>
        <p:txBody>
          <a:bodyPr anchor="ctr"/>
          <a:lstStyle>
            <a:lvl1pPr marL="0" indent="0" algn="l">
              <a:lnSpc>
                <a:spcPct val="100000"/>
              </a:lnSpc>
              <a:spcBef>
                <a:spcPts val="0"/>
              </a:spcBef>
              <a:buNone/>
              <a:defRPr sz="2400" b="1">
                <a:solidFill>
                  <a:srgbClr val="C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/>
            <a:r>
              <a:rPr lang="zh-CN" altLang="en-US" dirty="0"/>
              <a:t>单击添加标题文字</a:t>
            </a:r>
            <a:endParaRPr lang="zh-CN" altLang="en-US" dirty="0"/>
          </a:p>
        </p:txBody>
      </p:sp>
    </p:spTree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theme" Target="../theme/theme1.xml"/><Relationship Id="rId2" Type="http://schemas.openxmlformats.org/officeDocument/2006/relationships/image" Target="../media/image2.jpeg"/><Relationship Id="rId1" Type="http://schemas.openxmlformats.org/officeDocument/2006/relationships/image" Target="../media/image1.jpeg"/></Relationships>
</file>

<file path=ppt/slideMasters/_rels/slideMaster2.xml.rels><?xml version="1.0" encoding="UTF-8" standalone="yes"?>
<Relationships xmlns="http://schemas.openxmlformats.org/package/2006/relationships"><Relationship Id="rId9" Type="http://schemas.openxmlformats.org/officeDocument/2006/relationships/vmlDrawing" Target="../drawings/vmlDrawing1.vml"/><Relationship Id="rId8" Type="http://schemas.openxmlformats.org/officeDocument/2006/relationships/image" Target="../media/image4.png"/><Relationship Id="rId7" Type="http://schemas.openxmlformats.org/officeDocument/2006/relationships/image" Target="../media/image3.emf"/><Relationship Id="rId6" Type="http://schemas.openxmlformats.org/officeDocument/2006/relationships/oleObject" Target="../embeddings/oleObject1.bin"/><Relationship Id="rId5" Type="http://schemas.openxmlformats.org/officeDocument/2006/relationships/tags" Target="../tags/tag1.xml"/><Relationship Id="rId4" Type="http://schemas.openxmlformats.org/officeDocument/2006/relationships/slideLayout" Target="../slideLayouts/slideLayout4.xml"/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0" Type="http://schemas.openxmlformats.org/officeDocument/2006/relationships/theme" Target="../theme/theme2.xml"/><Relationship Id="rId1" Type="http://schemas.openxmlformats.org/officeDocument/2006/relationships/slideLayout" Target="../slideLayouts/slideLayout1.xml"/></Relationships>
</file>

<file path=ppt/slideMasters/_rels/slideMaster3.xml.rels><?xml version="1.0" encoding="UTF-8" standalone="yes"?>
<Relationships xmlns="http://schemas.openxmlformats.org/package/2006/relationships"><Relationship Id="rId3" Type="http://schemas.openxmlformats.org/officeDocument/2006/relationships/theme" Target="../theme/theme3.xml"/><Relationship Id="rId2" Type="http://schemas.openxmlformats.org/officeDocument/2006/relationships/image" Target="../media/image6.jpeg"/><Relationship Id="rId1" Type="http://schemas.openxmlformats.org/officeDocument/2006/relationships/slideLayout" Target="../slideLayouts/slideLayout5.xml"/></Relationships>
</file>

<file path=ppt/slideMasters/_rels/slideMaster4.xml.rels><?xml version="1.0" encoding="UTF-8" standalone="yes"?>
<Relationships xmlns="http://schemas.openxmlformats.org/package/2006/relationships"><Relationship Id="rId7" Type="http://schemas.openxmlformats.org/officeDocument/2006/relationships/theme" Target="../theme/theme4.xml"/><Relationship Id="rId6" Type="http://schemas.openxmlformats.org/officeDocument/2006/relationships/image" Target="../media/image7.tiff"/><Relationship Id="rId5" Type="http://schemas.openxmlformats.org/officeDocument/2006/relationships/slideLayout" Target="../slideLayouts/slideLayout10.xml"/><Relationship Id="rId4" Type="http://schemas.openxmlformats.org/officeDocument/2006/relationships/slideLayout" Target="../slideLayouts/slideLayout9.xml"/><Relationship Id="rId3" Type="http://schemas.openxmlformats.org/officeDocument/2006/relationships/slideLayout" Target="../slideLayouts/slideLayout8.xml"/><Relationship Id="rId2" Type="http://schemas.openxmlformats.org/officeDocument/2006/relationships/slideLayout" Target="../slideLayouts/slideLayout7.xml"/><Relationship Id="rId1" Type="http://schemas.openxmlformats.org/officeDocument/2006/relationships/slideLayout" Target="../slideLayouts/slideLayout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图片 6"/>
          <p:cNvPicPr>
            <a:picLocks noChangeAspect="1"/>
          </p:cNvPicPr>
          <p:nvPr userDrawn="1"/>
        </p:nvPicPr>
        <p:blipFill>
          <a:blip r:embed="rId1"/>
          <a:stretch>
            <a:fillRect/>
          </a:stretch>
        </p:blipFill>
        <p:spPr>
          <a:xfrm>
            <a:off x="2382" y="0"/>
            <a:ext cx="12192000" cy="6858000"/>
          </a:xfrm>
          <a:prstGeom prst="rect">
            <a:avLst/>
          </a:prstGeom>
        </p:spPr>
      </p:pic>
      <p:pic>
        <p:nvPicPr>
          <p:cNvPr id="6" name="Picture 10"/>
          <p:cNvPicPr>
            <a:picLocks noChangeAspect="1"/>
          </p:cNvPicPr>
          <p:nvPr userDrawn="1"/>
        </p:nvPicPr>
        <p:blipFill>
          <a:blip r:embed="rId2" cstate="screen"/>
          <a:stretch>
            <a:fillRect/>
          </a:stretch>
        </p:blipFill>
        <p:spPr>
          <a:xfrm>
            <a:off x="10318449" y="6170601"/>
            <a:ext cx="1362376" cy="291823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hf hdr="0" ftr="0" dt="0"/>
  <p:txStyles>
    <p:titleStyle>
      <a:lvl1pPr algn="l" defTabSz="913765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0" indent="0" algn="l" defTabSz="913765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微软雅黑" panose="020B0503020204020204" pitchFamily="34" charset="-122"/>
          <a:cs typeface="Arial" panose="020B0604020202020204" pitchFamily="34" charset="0"/>
        </a:defRPr>
      </a:lvl1pPr>
      <a:lvl2pPr marL="457200" indent="0" algn="l" defTabSz="913765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3765" indent="0" algn="l" defTabSz="913765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0965" indent="0" algn="l" defTabSz="913765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165" indent="0" algn="l" defTabSz="913765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33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05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77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4930" indent="-228600" algn="l" defTabSz="91376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37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09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1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365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19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1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330" algn="l" defTabSz="91376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对象 4" hidden="1"/>
          <p:cNvGraphicFramePr>
            <a:graphicFrameLocks noChangeAspect="1"/>
          </p:cNvGraphicFramePr>
          <p:nvPr userDrawn="1">
            <p:custDataLst>
              <p:tags r:id="rId5"/>
            </p:custDataLst>
          </p:nvPr>
        </p:nvGraphicFramePr>
        <p:xfrm>
          <a:off x="1593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0" name="think-cell 幻灯片" r:id="rId6" imgW="5715" imgH="5715" progId="TCLayout.ActiveDocument.1">
                  <p:embed/>
                </p:oleObj>
              </mc:Choice>
              <mc:Fallback>
                <p:oleObj name="think-cell 幻灯片" r:id="rId6" imgW="5715" imgH="5715" progId="TCLayout.ActiveDocument.1">
                  <p:embed/>
                  <p:pic>
                    <p:nvPicPr>
                      <p:cNvPr id="0" name="对象 4" hidden="1"/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93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标题占位符 1"/>
          <p:cNvSpPr>
            <a:spLocks noGrp="1"/>
          </p:cNvSpPr>
          <p:nvPr>
            <p:ph type="title"/>
          </p:nvPr>
        </p:nvSpPr>
        <p:spPr>
          <a:xfrm>
            <a:off x="516140" y="260363"/>
            <a:ext cx="11164484" cy="539749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/>
          <a:p>
            <a:r>
              <a:rPr lang="zh-CN" altLang="en-US" dirty="0"/>
              <a:t>单击此处编辑母版标题样式</a:t>
            </a:r>
            <a:endParaRPr lang="zh-CN" altLang="en-US" dirty="0"/>
          </a:p>
        </p:txBody>
      </p:sp>
      <p:sp>
        <p:nvSpPr>
          <p:cNvPr id="3" name="文本占位符 2"/>
          <p:cNvSpPr>
            <a:spLocks noGrp="1"/>
          </p:cNvSpPr>
          <p:nvPr>
            <p:ph type="body" idx="1"/>
          </p:nvPr>
        </p:nvSpPr>
        <p:spPr>
          <a:xfrm>
            <a:off x="516140" y="908059"/>
            <a:ext cx="11164484" cy="5400675"/>
          </a:xfrm>
          <a:prstGeom prst="rect">
            <a:avLst/>
          </a:prstGeom>
        </p:spPr>
        <p:txBody>
          <a:bodyPr vert="horz" lIns="0" tIns="0" rIns="0" bIns="0" rtlCol="0">
            <a:noAutofit/>
          </a:bodyPr>
          <a:lstStyle/>
          <a:p>
            <a:pPr lvl="0"/>
            <a:r>
              <a:rPr lang="zh-CN" altLang="en-US" dirty="0"/>
              <a:t>单击此处编辑母版文本样式</a:t>
            </a:r>
            <a:endParaRPr lang="zh-CN" altLang="en-US" dirty="0"/>
          </a:p>
          <a:p>
            <a:pPr lvl="1"/>
            <a:r>
              <a:rPr lang="zh-CN" altLang="en-US" dirty="0"/>
              <a:t>第二级</a:t>
            </a:r>
            <a:endParaRPr lang="zh-CN" altLang="en-US" dirty="0"/>
          </a:p>
          <a:p>
            <a:pPr lvl="2"/>
            <a:r>
              <a:rPr lang="zh-CN" altLang="en-US" dirty="0"/>
              <a:t>第三级</a:t>
            </a:r>
            <a:endParaRPr lang="zh-CN" altLang="en-US" dirty="0"/>
          </a:p>
        </p:txBody>
      </p:sp>
      <p:sp>
        <p:nvSpPr>
          <p:cNvPr id="11" name="TextBox 3"/>
          <p:cNvSpPr txBox="1"/>
          <p:nvPr userDrawn="1"/>
        </p:nvSpPr>
        <p:spPr>
          <a:xfrm>
            <a:off x="516078" y="6306796"/>
            <a:ext cx="142125" cy="551204"/>
          </a:xfrm>
          <a:prstGeom prst="rect">
            <a:avLst/>
          </a:prstGeom>
          <a:noFill/>
        </p:spPr>
        <p:txBody>
          <a:bodyPr wrap="none" lIns="0" tIns="0" rIns="0" bIns="0" rtlCol="0" anchor="ctr">
            <a:noAutofit/>
          </a:bodyPr>
          <a:lstStyle/>
          <a:p>
            <a:pPr defTabSz="889000">
              <a:defRPr/>
            </a:pPr>
            <a:fld id="{C3837181-38C6-AD4F-B8BA-B444770388BB}" type="slidenum">
              <a:rPr lang="en-US" sz="975">
                <a:solidFill>
                  <a:srgbClr val="1D1D1B"/>
                </a:solidFill>
                <a:cs typeface="Arial" panose="020B0604020202020204" pitchFamily="34" charset="0"/>
              </a:rPr>
            </a:fld>
            <a:endParaRPr lang="en-US" sz="975" dirty="0">
              <a:solidFill>
                <a:srgbClr val="1D1D1B"/>
              </a:solidFill>
              <a:cs typeface="Arial" panose="020B0604020202020204" pitchFamily="34" charset="0"/>
            </a:endParaRPr>
          </a:p>
        </p:txBody>
      </p:sp>
      <p:pic>
        <p:nvPicPr>
          <p:cNvPr id="4" name="图片 3"/>
          <p:cNvPicPr>
            <a:picLocks noChangeAspect="1"/>
          </p:cNvPicPr>
          <p:nvPr userDrawn="1"/>
        </p:nvPicPr>
        <p:blipFill>
          <a:blip r:embed="rId8" cstate="email"/>
          <a:stretch>
            <a:fillRect/>
          </a:stretch>
        </p:blipFill>
        <p:spPr>
          <a:xfrm>
            <a:off x="10413535" y="6443798"/>
            <a:ext cx="1267156" cy="2772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0" r:id="rId1"/>
    <p:sldLayoutId id="2147483651" r:id="rId2"/>
    <p:sldLayoutId id="2147483652" r:id="rId3"/>
    <p:sldLayoutId id="2147483653" r:id="rId4"/>
  </p:sldLayoutIdLst>
  <p:txStyles>
    <p:titleStyle>
      <a:lvl1pPr algn="l" defTabSz="912495" rtl="0" eaLnBrk="1" latinLnBrk="0" hangingPunct="1">
        <a:lnSpc>
          <a:spcPct val="100000"/>
        </a:lnSpc>
        <a:spcBef>
          <a:spcPct val="0"/>
        </a:spcBef>
        <a:buNone/>
        <a:defRPr sz="2795" b="1" kern="1200" spc="0" baseline="0">
          <a:solidFill>
            <a:schemeClr val="tx2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267970" indent="-267970" algn="l" defTabSz="912495" rtl="0" eaLnBrk="1" latinLnBrk="0" hangingPunct="1">
        <a:lnSpc>
          <a:spcPct val="130000"/>
        </a:lnSpc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SzPct val="100000"/>
        <a:buFont typeface="Wingdings 2" panose="05020102010507070707" pitchFamily="18" charset="2"/>
        <a:buChar char="¡"/>
        <a:defRPr sz="1795" kern="1200">
          <a:solidFill>
            <a:schemeClr val="tx1"/>
          </a:solidFill>
          <a:latin typeface="+mn-lt"/>
          <a:ea typeface="+mn-ea"/>
          <a:cs typeface="+mn-cs"/>
        </a:defRPr>
      </a:lvl1pPr>
      <a:lvl2pPr marL="443230" indent="-175895" algn="l" defTabSz="912495" rtl="0" eaLnBrk="1" latinLnBrk="0" hangingPunct="1">
        <a:lnSpc>
          <a:spcPct val="130000"/>
        </a:lnSpc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微软雅黑" panose="020B0503020204020204" pitchFamily="34" charset="-122"/>
        <a:buChar char="›"/>
        <a:defRPr sz="1595" kern="1200">
          <a:solidFill>
            <a:schemeClr val="tx1"/>
          </a:solidFill>
          <a:latin typeface="+mn-lt"/>
          <a:ea typeface="+mn-ea"/>
          <a:cs typeface="+mn-cs"/>
        </a:defRPr>
      </a:lvl2pPr>
      <a:lvl3pPr marL="627380" indent="-183515" algn="l" defTabSz="912495" rtl="0" eaLnBrk="1" latinLnBrk="0" hangingPunct="1">
        <a:lnSpc>
          <a:spcPct val="130000"/>
        </a:lnSpc>
        <a:spcBef>
          <a:spcPts val="0"/>
        </a:spcBef>
        <a:spcAft>
          <a:spcPts val="400"/>
        </a:spcAft>
        <a:buClr>
          <a:schemeClr val="tx1">
            <a:lumMod val="50000"/>
            <a:lumOff val="50000"/>
          </a:schemeClr>
        </a:buClr>
        <a:buFont typeface="FrutigerNext LT Regular" panose="020B0503040504020204" pitchFamily="34" charset="0"/>
        <a:buChar char="»"/>
        <a:defRPr sz="1395" kern="1200">
          <a:solidFill>
            <a:schemeClr val="tx1"/>
          </a:solidFill>
          <a:latin typeface="+mn-lt"/>
          <a:ea typeface="+mn-ea"/>
          <a:cs typeface="+mn-cs"/>
        </a:defRPr>
      </a:lvl3pPr>
      <a:lvl4pPr marL="1597025" indent="-227965" algn="l" defTabSz="912495" rtl="0" eaLnBrk="1" latinLnBrk="0" hangingPunct="1">
        <a:lnSpc>
          <a:spcPct val="130000"/>
        </a:lnSpc>
        <a:spcBef>
          <a:spcPts val="500"/>
        </a:spcBef>
        <a:spcAft>
          <a:spcPts val="300"/>
        </a:spcAft>
        <a:buFont typeface="Wingdings" panose="05000000000000000000" pitchFamily="2" charset="2"/>
        <a:buChar char="n"/>
        <a:defRPr sz="1795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4pPr>
      <a:lvl5pPr marL="2052955" indent="-227965" algn="l" defTabSz="912495" rtl="0" eaLnBrk="1" latinLnBrk="0" hangingPunct="1">
        <a:lnSpc>
          <a:spcPct val="130000"/>
        </a:lnSpc>
        <a:spcBef>
          <a:spcPts val="500"/>
        </a:spcBef>
        <a:spcAft>
          <a:spcPts val="300"/>
        </a:spcAft>
        <a:buFont typeface="Wingdings" panose="05000000000000000000" pitchFamily="2" charset="2"/>
        <a:buChar char="n"/>
        <a:defRPr sz="1795" kern="1200">
          <a:solidFill>
            <a:schemeClr val="tx1">
              <a:lumMod val="75000"/>
              <a:lumOff val="25000"/>
            </a:schemeClr>
          </a:solidFill>
          <a:latin typeface="+mn-lt"/>
          <a:ea typeface="+mn-ea"/>
          <a:cs typeface="+mn-cs"/>
        </a:defRPr>
      </a:lvl5pPr>
      <a:lvl6pPr marL="2509520" indent="-227965" algn="l" defTabSz="9124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2965450" indent="-227965" algn="l" defTabSz="9124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3422015" indent="-227965" algn="l" defTabSz="9124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3877945" indent="-227965" algn="l" defTabSz="912495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79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zh-CN"/>
      </a:defPPr>
      <a:lvl1pPr marL="0" algn="l" defTabSz="91249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1pPr>
      <a:lvl2pPr marL="455930" algn="l" defTabSz="91249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2pPr>
      <a:lvl3pPr marL="912495" algn="l" defTabSz="91249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3pPr>
      <a:lvl4pPr marL="1368425" algn="l" defTabSz="91249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4pPr>
      <a:lvl5pPr marL="1824990" algn="l" defTabSz="91249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5pPr>
      <a:lvl6pPr marL="2280920" algn="l" defTabSz="91249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6pPr>
      <a:lvl7pPr marL="2737485" algn="l" defTabSz="91249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7pPr>
      <a:lvl8pPr marL="3193415" algn="l" defTabSz="91249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8pPr>
      <a:lvl9pPr marL="3649980" algn="l" defTabSz="912495" rtl="0" eaLnBrk="1" latinLnBrk="0" hangingPunct="1">
        <a:defRPr sz="179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 userDrawn="1"/>
        </p:nvSpPr>
        <p:spPr>
          <a:xfrm>
            <a:off x="0" y="5590903"/>
            <a:ext cx="12196763" cy="1267097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ctr"/>
            <a:endParaRPr lang="en-US" dirty="0"/>
          </a:p>
        </p:txBody>
      </p:sp>
      <p:pic>
        <p:nvPicPr>
          <p:cNvPr id="5" name="图片 4"/>
          <p:cNvPicPr>
            <a:picLocks noChangeAspect="1"/>
          </p:cNvPicPr>
          <p:nvPr userDrawn="1"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889463" y="6019184"/>
            <a:ext cx="1876548" cy="410400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5" r:id="rId1"/>
  </p:sldLayoutIdLst>
  <p:hf hdr="0" ftr="0" dt="0"/>
  <p:txStyles>
    <p:titleStyle>
      <a:lvl1pPr algn="l" defTabSz="914400" rtl="0" eaLnBrk="1" latinLnBrk="0" hangingPunct="1">
        <a:lnSpc>
          <a:spcPts val="3440"/>
        </a:lnSpc>
        <a:spcBef>
          <a:spcPct val="0"/>
        </a:spcBef>
        <a:buNone/>
        <a:defRPr sz="3200" kern="1200">
          <a:solidFill>
            <a:schemeClr val="tx1"/>
          </a:solidFill>
          <a:latin typeface="微软雅黑" panose="020B0503020204020204" pitchFamily="34" charset="-122"/>
          <a:ea typeface="微软雅黑" panose="020B0503020204020204" pitchFamily="34" charset="-122"/>
          <a:cs typeface="+mj-cs"/>
        </a:defRPr>
      </a:lvl1pPr>
    </p:titleStyle>
    <p:bodyStyle>
      <a:lvl1pPr marL="0" indent="0" algn="l" defTabSz="914400" rtl="0" eaLnBrk="1" latinLnBrk="0" hangingPunct="1">
        <a:lnSpc>
          <a:spcPct val="100000"/>
        </a:lnSpc>
        <a:spcBef>
          <a:spcPts val="0"/>
        </a:spcBef>
        <a:buFontTx/>
        <a:buNone/>
        <a:defRPr sz="1000" kern="1200">
          <a:solidFill>
            <a:srgbClr val="1D1D1B"/>
          </a:solidFill>
          <a:latin typeface="Arial" panose="020B0604020202020204" pitchFamily="34" charset="0"/>
          <a:ea typeface="微软雅黑" panose="020B0503020204020204" pitchFamily="34" charset="-122"/>
          <a:cs typeface="Arial" panose="020B0604020202020204" pitchFamily="34" charset="0"/>
        </a:defRPr>
      </a:lvl1pPr>
      <a:lvl2pPr marL="4572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9144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3716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1828800" indent="0" algn="l" defTabSz="914400" rtl="0" eaLnBrk="1" latinLnBrk="0" hangingPunct="1">
        <a:lnSpc>
          <a:spcPct val="90000"/>
        </a:lnSpc>
        <a:spcBef>
          <a:spcPts val="500"/>
        </a:spcBef>
        <a:buFontTx/>
        <a:buNone/>
        <a:defRPr sz="75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rgbClr val="FFFFFF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Box 2"/>
          <p:cNvSpPr txBox="1"/>
          <p:nvPr userDrawn="1"/>
        </p:nvSpPr>
        <p:spPr>
          <a:xfrm>
            <a:off x="1095470" y="6356939"/>
            <a:ext cx="3503965" cy="2308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altLang="zh-CN" sz="900" b="0" kern="1200" baseline="0" dirty="0">
                <a:solidFill>
                  <a:srgbClr val="1D1D1B"/>
                </a:solidFill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Huawei Proprietary - Restricted Distribution</a:t>
            </a:r>
            <a:endParaRPr lang="en-US" sz="900" b="0" kern="1200" baseline="0" dirty="0">
              <a:solidFill>
                <a:srgbClr val="1D1D1B"/>
              </a:solidFill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4" name="TextBox 3"/>
          <p:cNvSpPr txBox="1"/>
          <p:nvPr userDrawn="1"/>
        </p:nvSpPr>
        <p:spPr>
          <a:xfrm>
            <a:off x="734134" y="6402812"/>
            <a:ext cx="499729" cy="138499"/>
          </a:xfrm>
          <a:prstGeom prst="rect">
            <a:avLst/>
          </a:prstGeom>
          <a:noFill/>
        </p:spPr>
        <p:txBody>
          <a:bodyPr wrap="square" lIns="0" tIns="0" rIns="0" bIns="0" rtlCol="0">
            <a:spAutoFit/>
          </a:bodyPr>
          <a:lstStyle/>
          <a:p>
            <a:pPr marL="0" marR="0" lvl="0" indent="0" algn="l" defTabSz="889635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fld id="{C3837181-38C6-AD4F-B8BA-B444770388BB}" type="slidenum">
              <a:rPr lang="en-US" sz="900" smtClean="0">
                <a:solidFill>
                  <a:srgbClr val="1D1D1B"/>
                </a:solidFill>
                <a:latin typeface="Arial" panose="020B0604020202020204" pitchFamily="34" charset="0"/>
                <a:cs typeface="Arial" panose="020B0604020202020204" pitchFamily="34" charset="0"/>
              </a:rPr>
            </a:fld>
            <a:endParaRPr lang="en-US" sz="900" dirty="0">
              <a:solidFill>
                <a:srgbClr val="1D1D1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88" name="Group 87"/>
          <p:cNvGrpSpPr>
            <a:grpSpLocks noChangeAspect="1"/>
          </p:cNvGrpSpPr>
          <p:nvPr userDrawn="1"/>
        </p:nvGrpSpPr>
        <p:grpSpPr>
          <a:xfrm>
            <a:off x="12290470" y="2625395"/>
            <a:ext cx="1967973" cy="4233515"/>
            <a:chOff x="5343885" y="-48857"/>
            <a:chExt cx="3271316" cy="7037279"/>
          </a:xfrm>
        </p:grpSpPr>
        <p:sp>
          <p:nvSpPr>
            <p:cNvPr id="89" name="矩形 13"/>
            <p:cNvSpPr/>
            <p:nvPr userDrawn="1"/>
          </p:nvSpPr>
          <p:spPr>
            <a:xfrm>
              <a:off x="5356401" y="1934171"/>
              <a:ext cx="791510" cy="664397"/>
            </a:xfrm>
            <a:prstGeom prst="rect">
              <a:avLst/>
            </a:prstGeom>
            <a:solidFill>
              <a:srgbClr val="C4005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6/0/84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0" name="文本框 15"/>
            <p:cNvSpPr txBox="1"/>
            <p:nvPr userDrawn="1"/>
          </p:nvSpPr>
          <p:spPr>
            <a:xfrm>
              <a:off x="5352723" y="1694497"/>
              <a:ext cx="1052647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辅助色</a:t>
              </a:r>
              <a:endParaRPr kumimoji="1" lang="zh-CN" altLang="en-US" sz="800" b="0" i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1" name="矩形 13"/>
            <p:cNvSpPr/>
            <p:nvPr userDrawn="1"/>
          </p:nvSpPr>
          <p:spPr>
            <a:xfrm>
              <a:off x="6184680" y="1934171"/>
              <a:ext cx="791510" cy="664397"/>
            </a:xfrm>
            <a:prstGeom prst="rect">
              <a:avLst/>
            </a:prstGeom>
            <a:solidFill>
              <a:srgbClr val="CB377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3/55/12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2" name="矩形 13"/>
            <p:cNvSpPr/>
            <p:nvPr userDrawn="1"/>
          </p:nvSpPr>
          <p:spPr>
            <a:xfrm>
              <a:off x="5356401" y="3403061"/>
              <a:ext cx="791510" cy="664397"/>
            </a:xfrm>
            <a:prstGeom prst="rect">
              <a:avLst/>
            </a:prstGeom>
            <a:solidFill>
              <a:srgbClr val="ED6D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37/109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3" name="矩形 13"/>
            <p:cNvSpPr/>
            <p:nvPr userDrawn="1"/>
          </p:nvSpPr>
          <p:spPr>
            <a:xfrm>
              <a:off x="6184680" y="2673360"/>
              <a:ext cx="791510" cy="664397"/>
            </a:xfrm>
            <a:prstGeom prst="rect">
              <a:avLst/>
            </a:prstGeom>
            <a:solidFill>
              <a:srgbClr val="993636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313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53/54/54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4" name="矩形 13"/>
            <p:cNvSpPr/>
            <p:nvPr userDrawn="1"/>
          </p:nvSpPr>
          <p:spPr>
            <a:xfrm>
              <a:off x="5356401" y="4866463"/>
              <a:ext cx="791510" cy="664397"/>
            </a:xfrm>
            <a:prstGeom prst="rect">
              <a:avLst/>
            </a:prstGeom>
            <a:solidFill>
              <a:srgbClr val="62B23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98/178/4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5" name="矩形 13"/>
            <p:cNvSpPr/>
            <p:nvPr userDrawn="1"/>
          </p:nvSpPr>
          <p:spPr>
            <a:xfrm>
              <a:off x="6184680" y="3415851"/>
              <a:ext cx="791510" cy="664397"/>
            </a:xfrm>
            <a:prstGeom prst="rect">
              <a:avLst/>
            </a:prstGeom>
            <a:solidFill>
              <a:srgbClr val="F2894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42/137/68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6" name="矩形 13"/>
            <p:cNvSpPr/>
            <p:nvPr userDrawn="1"/>
          </p:nvSpPr>
          <p:spPr>
            <a:xfrm>
              <a:off x="5353240" y="184963"/>
              <a:ext cx="791510" cy="664397"/>
            </a:xfrm>
            <a:prstGeom prst="rect">
              <a:avLst/>
            </a:prstGeom>
            <a:solidFill>
              <a:srgbClr val="C7000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5C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  <a:spcBef>
                  <a:spcPts val="0"/>
                </a:spcBef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9/0/11  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7" name="文本框 15"/>
            <p:cNvSpPr txBox="1"/>
            <p:nvPr userDrawn="1"/>
          </p:nvSpPr>
          <p:spPr>
            <a:xfrm>
              <a:off x="5343885" y="-48857"/>
              <a:ext cx="726488" cy="204645"/>
            </a:xfrm>
            <a:prstGeom prst="rect">
              <a:avLst/>
            </a:prstGeom>
            <a:noFill/>
          </p:spPr>
          <p:txBody>
            <a:bodyPr wrap="square" lIns="0" tIns="0" rIns="0" bIns="0" rtlCol="0" anchor="b" anchorCtr="0">
              <a:spAutoFit/>
            </a:bodyPr>
            <a:lstStyle/>
            <a:p>
              <a:pPr algn="l">
                <a:lnSpc>
                  <a:spcPct val="100000"/>
                </a:lnSpc>
              </a:pPr>
              <a:r>
                <a:rPr kumimoji="1" lang="zh-CN" altLang="en-US" sz="800" b="0" i="0" dirty="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</a:rPr>
                <a:t>公司色</a:t>
              </a:r>
              <a:endParaRPr kumimoji="1" lang="zh-CN" altLang="en-US" sz="800" b="0" i="0" dirty="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8" name="矩形 13"/>
            <p:cNvSpPr/>
            <p:nvPr userDrawn="1"/>
          </p:nvSpPr>
          <p:spPr>
            <a:xfrm>
              <a:off x="5352600" y="918047"/>
              <a:ext cx="791510" cy="664397"/>
            </a:xfrm>
            <a:prstGeom prst="rect">
              <a:avLst/>
            </a:prstGeom>
            <a:solidFill>
              <a:srgbClr val="C8102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PANTONE 186C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chemeClr val="tx2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00/16/46  </a:t>
              </a:r>
              <a:endParaRPr kumimoji="1" lang="en-US" altLang="zh-CN" sz="500" b="1" dirty="0">
                <a:solidFill>
                  <a:schemeClr val="tx2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99" name="矩形 13"/>
            <p:cNvSpPr/>
            <p:nvPr userDrawn="1"/>
          </p:nvSpPr>
          <p:spPr>
            <a:xfrm>
              <a:off x="5354164" y="2665974"/>
              <a:ext cx="791510" cy="664397"/>
            </a:xfrm>
            <a:prstGeom prst="rect">
              <a:avLst/>
            </a:prstGeom>
            <a:solidFill>
              <a:srgbClr val="7F000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7/0/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0" name="矩形 13"/>
            <p:cNvSpPr/>
            <p:nvPr userDrawn="1"/>
          </p:nvSpPr>
          <p:spPr>
            <a:xfrm>
              <a:off x="5354164" y="4134866"/>
              <a:ext cx="791510" cy="664397"/>
            </a:xfrm>
            <a:prstGeom prst="rect">
              <a:avLst/>
            </a:prstGeom>
            <a:solidFill>
              <a:srgbClr val="FCC80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52/200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1" name="矩形 13"/>
            <p:cNvSpPr/>
            <p:nvPr userDrawn="1"/>
          </p:nvSpPr>
          <p:spPr>
            <a:xfrm>
              <a:off x="5354164" y="5596166"/>
              <a:ext cx="791510" cy="664397"/>
            </a:xfrm>
            <a:prstGeom prst="rect">
              <a:avLst/>
            </a:prstGeom>
            <a:solidFill>
              <a:srgbClr val="30B5C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48/181/19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2" name="矩形 13"/>
            <p:cNvSpPr/>
            <p:nvPr userDrawn="1"/>
          </p:nvSpPr>
          <p:spPr>
            <a:xfrm>
              <a:off x="6184543" y="4866463"/>
              <a:ext cx="791510" cy="664398"/>
            </a:xfrm>
            <a:prstGeom prst="rect">
              <a:avLst/>
            </a:prstGeom>
            <a:solidFill>
              <a:srgbClr val="81C15F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29/193/9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3" name="矩形 13"/>
            <p:cNvSpPr/>
            <p:nvPr userDrawn="1"/>
          </p:nvSpPr>
          <p:spPr>
            <a:xfrm>
              <a:off x="6182308" y="4134866"/>
              <a:ext cx="791510" cy="664398"/>
            </a:xfrm>
            <a:prstGeom prst="rect">
              <a:avLst/>
            </a:prstGeom>
            <a:solidFill>
              <a:srgbClr val="FDD35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3/211/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4" name="矩形 13"/>
            <p:cNvSpPr/>
            <p:nvPr userDrawn="1"/>
          </p:nvSpPr>
          <p:spPr>
            <a:xfrm>
              <a:off x="6177324" y="5596166"/>
              <a:ext cx="791510" cy="664398"/>
            </a:xfrm>
            <a:prstGeom prst="rect">
              <a:avLst/>
            </a:prstGeom>
            <a:solidFill>
              <a:srgbClr val="56C4D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6/196/21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5" name="矩形 13"/>
            <p:cNvSpPr/>
            <p:nvPr/>
          </p:nvSpPr>
          <p:spPr>
            <a:xfrm>
              <a:off x="6186245" y="184963"/>
              <a:ext cx="791510" cy="664397"/>
            </a:xfrm>
            <a:prstGeom prst="rect">
              <a:avLst/>
            </a:prstGeom>
            <a:solidFill>
              <a:srgbClr val="D3394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7/65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6" name="矩形 13"/>
            <p:cNvSpPr/>
            <p:nvPr/>
          </p:nvSpPr>
          <p:spPr>
            <a:xfrm>
              <a:off x="6185604" y="918047"/>
              <a:ext cx="791510" cy="664397"/>
            </a:xfrm>
            <a:prstGeom prst="rect">
              <a:avLst/>
            </a:prstGeom>
            <a:solidFill>
              <a:srgbClr val="D338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11/56/89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7" name="矩形 13"/>
            <p:cNvSpPr/>
            <p:nvPr/>
          </p:nvSpPr>
          <p:spPr>
            <a:xfrm>
              <a:off x="6996262" y="1934171"/>
              <a:ext cx="791510" cy="664397"/>
            </a:xfrm>
            <a:prstGeom prst="rect">
              <a:avLst/>
            </a:prstGeom>
            <a:solidFill>
              <a:srgbClr val="DD80A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128/17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8" name="矩形 13"/>
            <p:cNvSpPr/>
            <p:nvPr/>
          </p:nvSpPr>
          <p:spPr>
            <a:xfrm>
              <a:off x="6996262" y="2673360"/>
              <a:ext cx="791510" cy="664397"/>
            </a:xfrm>
            <a:prstGeom prst="rect">
              <a:avLst/>
            </a:prstGeom>
            <a:solidFill>
              <a:srgbClr val="BF808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313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91/128/13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09" name="矩形 13"/>
            <p:cNvSpPr/>
            <p:nvPr/>
          </p:nvSpPr>
          <p:spPr>
            <a:xfrm>
              <a:off x="6996262" y="3415851"/>
              <a:ext cx="791510" cy="664397"/>
            </a:xfrm>
            <a:prstGeom prst="rect">
              <a:avLst/>
            </a:prstGeom>
            <a:solidFill>
              <a:srgbClr val="F6B78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46/183/140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0" name="矩形 13"/>
            <p:cNvSpPr/>
            <p:nvPr/>
          </p:nvSpPr>
          <p:spPr>
            <a:xfrm>
              <a:off x="7006093" y="4866463"/>
              <a:ext cx="791510" cy="664397"/>
            </a:xfrm>
            <a:prstGeom prst="rect">
              <a:avLst/>
            </a:prstGeom>
            <a:solidFill>
              <a:srgbClr val="AFD89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76/216/15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1" name="矩形 13"/>
            <p:cNvSpPr/>
            <p:nvPr/>
          </p:nvSpPr>
          <p:spPr>
            <a:xfrm>
              <a:off x="7003856" y="4134866"/>
              <a:ext cx="791510" cy="664397"/>
            </a:xfrm>
            <a:prstGeom prst="rect">
              <a:avLst/>
            </a:prstGeom>
            <a:solidFill>
              <a:srgbClr val="FDE39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3/227/18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2" name="矩形 13"/>
            <p:cNvSpPr/>
            <p:nvPr/>
          </p:nvSpPr>
          <p:spPr>
            <a:xfrm>
              <a:off x="7003856" y="5596166"/>
              <a:ext cx="791510" cy="664397"/>
            </a:xfrm>
            <a:prstGeom prst="rect">
              <a:avLst/>
            </a:prstGeom>
            <a:solidFill>
              <a:srgbClr val="94DAE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148/218/22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3" name="矩形 13"/>
            <p:cNvSpPr/>
            <p:nvPr/>
          </p:nvSpPr>
          <p:spPr>
            <a:xfrm>
              <a:off x="6997826" y="184963"/>
              <a:ext cx="791510" cy="664397"/>
            </a:xfrm>
            <a:prstGeom prst="rect">
              <a:avLst/>
            </a:prstGeom>
            <a:solidFill>
              <a:srgbClr val="E2818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3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4" name="矩形 13"/>
            <p:cNvSpPr/>
            <p:nvPr/>
          </p:nvSpPr>
          <p:spPr>
            <a:xfrm>
              <a:off x="6997185" y="918047"/>
              <a:ext cx="791510" cy="664397"/>
            </a:xfrm>
            <a:prstGeom prst="rect">
              <a:avLst/>
            </a:prstGeom>
            <a:solidFill>
              <a:srgbClr val="E2819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6/129/152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5" name="矩形 13"/>
            <p:cNvSpPr/>
            <p:nvPr userDrawn="1"/>
          </p:nvSpPr>
          <p:spPr>
            <a:xfrm>
              <a:off x="7806130" y="1934171"/>
              <a:ext cx="791510" cy="664397"/>
            </a:xfrm>
            <a:prstGeom prst="rect">
              <a:avLst/>
            </a:prstGeom>
            <a:solidFill>
              <a:srgbClr val="EBB3CC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5/179/20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6" name="矩形 13"/>
            <p:cNvSpPr/>
            <p:nvPr/>
          </p:nvSpPr>
          <p:spPr>
            <a:xfrm>
              <a:off x="7806130" y="2673360"/>
              <a:ext cx="791510" cy="664397"/>
            </a:xfrm>
            <a:prstGeom prst="rect">
              <a:avLst/>
            </a:prstGeom>
            <a:solidFill>
              <a:srgbClr val="D8B3B3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marL="0" marR="0" lvl="0" indent="0" algn="ctr" defTabSz="913130" rtl="0" eaLnBrk="1" fontAlgn="auto" latinLnBrk="0" hangingPunct="1">
                <a:lnSpc>
                  <a:spcPts val="62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defRPr/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16/179/179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7" name="矩形 13"/>
            <p:cNvSpPr/>
            <p:nvPr/>
          </p:nvSpPr>
          <p:spPr>
            <a:xfrm>
              <a:off x="7811114" y="3415851"/>
              <a:ext cx="791510" cy="664398"/>
            </a:xfrm>
            <a:prstGeom prst="rect">
              <a:avLst/>
            </a:prstGeom>
            <a:solidFill>
              <a:srgbClr val="FAD3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0/211/187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8" name="矩形 13"/>
            <p:cNvSpPr/>
            <p:nvPr/>
          </p:nvSpPr>
          <p:spPr>
            <a:xfrm>
              <a:off x="7820945" y="4866463"/>
              <a:ext cx="791510" cy="664398"/>
            </a:xfrm>
            <a:prstGeom prst="rect">
              <a:avLst/>
            </a:prstGeom>
            <a:solidFill>
              <a:srgbClr val="D0E8C4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08/232/196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9" name="矩形 13"/>
            <p:cNvSpPr/>
            <p:nvPr/>
          </p:nvSpPr>
          <p:spPr>
            <a:xfrm>
              <a:off x="7818707" y="4134866"/>
              <a:ext cx="791510" cy="664398"/>
            </a:xfrm>
            <a:prstGeom prst="rect">
              <a:avLst/>
            </a:prstGeom>
            <a:solidFill>
              <a:srgbClr val="FEEE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54/238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0" name="矩形 13"/>
            <p:cNvSpPr/>
            <p:nvPr/>
          </p:nvSpPr>
          <p:spPr>
            <a:xfrm>
              <a:off x="7823691" y="5596166"/>
              <a:ext cx="791510" cy="664398"/>
            </a:xfrm>
            <a:prstGeom prst="rect">
              <a:avLst/>
            </a:prstGeom>
            <a:solidFill>
              <a:srgbClr val="BEE9EE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90/233/238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1" name="矩形 13"/>
            <p:cNvSpPr/>
            <p:nvPr/>
          </p:nvSpPr>
          <p:spPr>
            <a:xfrm>
              <a:off x="7807694" y="184963"/>
              <a:ext cx="791510" cy="664397"/>
            </a:xfrm>
            <a:prstGeom prst="rect">
              <a:avLst/>
            </a:prstGeom>
            <a:solidFill>
              <a:srgbClr val="EEB3B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9/178/184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2" name="矩形 13"/>
            <p:cNvSpPr/>
            <p:nvPr/>
          </p:nvSpPr>
          <p:spPr>
            <a:xfrm>
              <a:off x="7807054" y="918047"/>
              <a:ext cx="791510" cy="664397"/>
            </a:xfrm>
            <a:prstGeom prst="rect">
              <a:avLst/>
            </a:prstGeom>
            <a:solidFill>
              <a:srgbClr val="EEB3C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38/179/193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3" name="矩形 13"/>
            <p:cNvSpPr/>
            <p:nvPr userDrawn="1"/>
          </p:nvSpPr>
          <p:spPr>
            <a:xfrm>
              <a:off x="5354169" y="6324025"/>
              <a:ext cx="513579" cy="664397"/>
            </a:xfrm>
            <a:prstGeom prst="rect">
              <a:avLst/>
            </a:prstGeom>
            <a:solidFill>
              <a:srgbClr val="22181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0/0/0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4" name="矩形 13"/>
            <p:cNvSpPr/>
            <p:nvPr userDrawn="1"/>
          </p:nvSpPr>
          <p:spPr>
            <a:xfrm>
              <a:off x="5900626" y="6324025"/>
              <a:ext cx="513579" cy="664397"/>
            </a:xfrm>
            <a:prstGeom prst="rect">
              <a:avLst/>
            </a:prstGeom>
            <a:solidFill>
              <a:srgbClr val="59575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89/87/8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5" name="矩形 13"/>
            <p:cNvSpPr/>
            <p:nvPr userDrawn="1"/>
          </p:nvSpPr>
          <p:spPr>
            <a:xfrm>
              <a:off x="6445335" y="6324024"/>
              <a:ext cx="513579" cy="664398"/>
            </a:xfrm>
            <a:prstGeom prst="rect">
              <a:avLst/>
            </a:prstGeom>
            <a:solidFill>
              <a:srgbClr val="88888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/137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37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6" name="矩形 13"/>
            <p:cNvSpPr/>
            <p:nvPr userDrawn="1"/>
          </p:nvSpPr>
          <p:spPr>
            <a:xfrm>
              <a:off x="7003279" y="6324024"/>
              <a:ext cx="513579" cy="664398"/>
            </a:xfrm>
            <a:prstGeom prst="rect">
              <a:avLst/>
            </a:prstGeom>
            <a:solidFill>
              <a:srgbClr val="B5B5B5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/181/</a:t>
              </a:r>
              <a:b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FFFFFF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181</a:t>
              </a:r>
              <a:endParaRPr kumimoji="1" lang="en-US" altLang="zh-CN" sz="500" b="1" dirty="0">
                <a:solidFill>
                  <a:srgbClr val="FFFFFF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7" name="矩形 13"/>
            <p:cNvSpPr/>
            <p:nvPr userDrawn="1"/>
          </p:nvSpPr>
          <p:spPr>
            <a:xfrm>
              <a:off x="7551547" y="6324024"/>
              <a:ext cx="513579" cy="664398"/>
            </a:xfrm>
            <a:prstGeom prst="rect">
              <a:avLst/>
            </a:prstGeom>
            <a:solidFill>
              <a:srgbClr val="DDDDDD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 221/221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21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28" name="矩形 13"/>
            <p:cNvSpPr/>
            <p:nvPr userDrawn="1"/>
          </p:nvSpPr>
          <p:spPr>
            <a:xfrm>
              <a:off x="8098559" y="6324024"/>
              <a:ext cx="513579" cy="664398"/>
            </a:xfrm>
            <a:prstGeom prst="rect">
              <a:avLst/>
            </a:prstGeom>
            <a:solidFill>
              <a:srgbClr val="FFFFFF"/>
            </a:solidFill>
            <a:ln w="6350">
              <a:solidFill>
                <a:srgbClr val="B5B5B5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0" tIns="0" rIns="0" bIns="0" rtlCol="0" anchor="ctr"/>
            <a:lstStyle/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RGB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  <a:p>
              <a:pPr algn="ctr">
                <a:lnSpc>
                  <a:spcPts val="620"/>
                </a:lnSpc>
              </a:pP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/255/</a:t>
              </a:r>
              <a:b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</a:br>
              <a:r>
                <a:rPr kumimoji="1" lang="en-US" altLang="zh-CN" sz="500" b="1" dirty="0">
                  <a:solidFill>
                    <a:srgbClr val="595757"/>
                  </a:solidFill>
                  <a:latin typeface="Arial" panose="020B0604020202020204" pitchFamily="34" charset="0"/>
                  <a:ea typeface="Arial" panose="020B0604020202020204" pitchFamily="34" charset="0"/>
                  <a:cs typeface="Arial" panose="020B0604020202020204" pitchFamily="34" charset="0"/>
                </a:rPr>
                <a:t>255</a:t>
              </a:r>
              <a:endParaRPr kumimoji="1" lang="en-US" altLang="zh-CN" sz="500" b="1" dirty="0">
                <a:solidFill>
                  <a:srgbClr val="595757"/>
                </a:solidFill>
                <a:latin typeface="Arial" panose="020B0604020202020204" pitchFamily="34" charset="0"/>
                <a:ea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pic>
        <p:nvPicPr>
          <p:cNvPr id="47" name="Picture 46"/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0196176" y="6323416"/>
            <a:ext cx="1270800" cy="275024"/>
          </a:xfrm>
          <a:prstGeom prst="rect">
            <a:avLst/>
          </a:prstGeom>
        </p:spPr>
      </p:pic>
    </p:spTree>
  </p:cSld>
  <p:clrMap bg1="lt1" tx1="dk1" bg2="lt2" tx2="dk2" accent1="accent1" accent2="accent2" accent3="accent3" accent4="accent4" accent5="accent5" accent6="accent6" hlink="hlink" folHlink="folHlink"/>
  <p:sldLayoutIdLst>
    <p:sldLayoutId id="2147483657" r:id="rId1"/>
    <p:sldLayoutId id="2147483658" r:id="rId2"/>
    <p:sldLayoutId id="2147483659" r:id="rId3"/>
    <p:sldLayoutId id="2147483660" r:id="rId4"/>
    <p:sldLayoutId id="2147483661" r:id="rId5"/>
  </p:sldLayoutIdLst>
  <p:hf hdr="0" ftr="0" dt="0"/>
  <p:txStyles>
    <p:titleStyle>
      <a:lvl1pPr algn="l" defTabSz="1186180" rtl="0" eaLnBrk="1" latinLnBrk="0" hangingPunct="1">
        <a:lnSpc>
          <a:spcPct val="90000"/>
        </a:lnSpc>
        <a:spcBef>
          <a:spcPct val="0"/>
        </a:spcBef>
        <a:buNone/>
        <a:defRPr sz="571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96545" indent="-296545" algn="l" defTabSz="1186180" rtl="0" eaLnBrk="1" latinLnBrk="0" hangingPunct="1">
        <a:lnSpc>
          <a:spcPct val="90000"/>
        </a:lnSpc>
        <a:spcBef>
          <a:spcPts val="1295"/>
        </a:spcBef>
        <a:buFont typeface="Arial" panose="020B0604020202020204" pitchFamily="34" charset="0"/>
        <a:buChar char="•"/>
        <a:defRPr sz="3635" kern="1200">
          <a:solidFill>
            <a:schemeClr val="tx1"/>
          </a:solidFill>
          <a:latin typeface="+mn-lt"/>
          <a:ea typeface="+mn-ea"/>
          <a:cs typeface="+mn-cs"/>
        </a:defRPr>
      </a:lvl1pPr>
      <a:lvl2pPr marL="889635" indent="-296545" algn="l" defTabSz="118618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3115" kern="1200">
          <a:solidFill>
            <a:schemeClr val="tx1"/>
          </a:solidFill>
          <a:latin typeface="+mn-lt"/>
          <a:ea typeface="+mn-ea"/>
          <a:cs typeface="+mn-cs"/>
        </a:defRPr>
      </a:lvl2pPr>
      <a:lvl3pPr marL="1482725" indent="-296545" algn="l" defTabSz="118618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595" kern="1200">
          <a:solidFill>
            <a:schemeClr val="tx1"/>
          </a:solidFill>
          <a:latin typeface="+mn-lt"/>
          <a:ea typeface="+mn-ea"/>
          <a:cs typeface="+mn-cs"/>
        </a:defRPr>
      </a:lvl3pPr>
      <a:lvl4pPr marL="2076450" indent="-296545" algn="l" defTabSz="118618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669540" indent="-296545" algn="l" defTabSz="118618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3262630" indent="-296545" algn="l" defTabSz="118618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855720" indent="-296545" algn="l" defTabSz="118618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448810" indent="-296545" algn="l" defTabSz="118618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5041900" indent="-296545" algn="l" defTabSz="1186180" rtl="0" eaLnBrk="1" latinLnBrk="0" hangingPunct="1">
        <a:lnSpc>
          <a:spcPct val="90000"/>
        </a:lnSpc>
        <a:spcBef>
          <a:spcPts val="650"/>
        </a:spcBef>
        <a:buFont typeface="Arial" panose="020B0604020202020204" pitchFamily="34" charset="0"/>
        <a:buChar char="•"/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18618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1pPr>
      <a:lvl2pPr marL="593090" algn="l" defTabSz="118618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2pPr>
      <a:lvl3pPr marL="1186180" algn="l" defTabSz="118618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3pPr>
      <a:lvl4pPr marL="1779270" algn="l" defTabSz="118618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4pPr>
      <a:lvl5pPr marL="2372995" algn="l" defTabSz="118618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5pPr>
      <a:lvl6pPr marL="2966085" algn="l" defTabSz="118618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6pPr>
      <a:lvl7pPr marL="3559175" algn="l" defTabSz="118618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7pPr>
      <a:lvl8pPr marL="4152265" algn="l" defTabSz="118618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8pPr>
      <a:lvl9pPr marL="4745355" algn="l" defTabSz="1186180" rtl="0" eaLnBrk="1" latinLnBrk="0" hangingPunct="1">
        <a:defRPr sz="2335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9" Type="http://schemas.openxmlformats.org/officeDocument/2006/relationships/tags" Target="../tags/tag10.xml"/><Relationship Id="rId8" Type="http://schemas.openxmlformats.org/officeDocument/2006/relationships/tags" Target="../tags/tag9.xml"/><Relationship Id="rId7" Type="http://schemas.openxmlformats.org/officeDocument/2006/relationships/tags" Target="../tags/tag8.xml"/><Relationship Id="rId6" Type="http://schemas.openxmlformats.org/officeDocument/2006/relationships/tags" Target="../tags/tag7.xml"/><Relationship Id="rId52" Type="http://schemas.openxmlformats.org/officeDocument/2006/relationships/notesSlide" Target="../notesSlides/notesSlide1.xml"/><Relationship Id="rId51" Type="http://schemas.openxmlformats.org/officeDocument/2006/relationships/slideLayout" Target="../slideLayouts/slideLayout2.xml"/><Relationship Id="rId50" Type="http://schemas.openxmlformats.org/officeDocument/2006/relationships/tags" Target="../tags/tag49.xml"/><Relationship Id="rId5" Type="http://schemas.openxmlformats.org/officeDocument/2006/relationships/tags" Target="../tags/tag6.xml"/><Relationship Id="rId49" Type="http://schemas.openxmlformats.org/officeDocument/2006/relationships/tags" Target="../tags/tag48.xml"/><Relationship Id="rId48" Type="http://schemas.openxmlformats.org/officeDocument/2006/relationships/tags" Target="../tags/tag47.xml"/><Relationship Id="rId47" Type="http://schemas.openxmlformats.org/officeDocument/2006/relationships/tags" Target="../tags/tag46.xml"/><Relationship Id="rId46" Type="http://schemas.openxmlformats.org/officeDocument/2006/relationships/tags" Target="../tags/tag45.xml"/><Relationship Id="rId45" Type="http://schemas.openxmlformats.org/officeDocument/2006/relationships/tags" Target="../tags/tag44.xml"/><Relationship Id="rId44" Type="http://schemas.openxmlformats.org/officeDocument/2006/relationships/tags" Target="../tags/tag43.xml"/><Relationship Id="rId43" Type="http://schemas.openxmlformats.org/officeDocument/2006/relationships/tags" Target="../tags/tag42.xml"/><Relationship Id="rId42" Type="http://schemas.openxmlformats.org/officeDocument/2006/relationships/tags" Target="../tags/tag41.xml"/><Relationship Id="rId41" Type="http://schemas.openxmlformats.org/officeDocument/2006/relationships/tags" Target="../tags/tag40.xml"/><Relationship Id="rId40" Type="http://schemas.openxmlformats.org/officeDocument/2006/relationships/tags" Target="../tags/tag39.xml"/><Relationship Id="rId4" Type="http://schemas.openxmlformats.org/officeDocument/2006/relationships/tags" Target="../tags/tag5.xml"/><Relationship Id="rId39" Type="http://schemas.openxmlformats.org/officeDocument/2006/relationships/tags" Target="../tags/tag38.xml"/><Relationship Id="rId38" Type="http://schemas.openxmlformats.org/officeDocument/2006/relationships/tags" Target="../tags/tag37.xml"/><Relationship Id="rId37" Type="http://schemas.openxmlformats.org/officeDocument/2006/relationships/tags" Target="../tags/tag36.xml"/><Relationship Id="rId36" Type="http://schemas.openxmlformats.org/officeDocument/2006/relationships/tags" Target="../tags/tag35.xml"/><Relationship Id="rId35" Type="http://schemas.openxmlformats.org/officeDocument/2006/relationships/tags" Target="../tags/tag34.xml"/><Relationship Id="rId34" Type="http://schemas.openxmlformats.org/officeDocument/2006/relationships/tags" Target="../tags/tag33.xml"/><Relationship Id="rId33" Type="http://schemas.openxmlformats.org/officeDocument/2006/relationships/tags" Target="../tags/tag32.xml"/><Relationship Id="rId32" Type="http://schemas.openxmlformats.org/officeDocument/2006/relationships/tags" Target="../tags/tag31.xml"/><Relationship Id="rId31" Type="http://schemas.openxmlformats.org/officeDocument/2006/relationships/tags" Target="../tags/tag30.xml"/><Relationship Id="rId30" Type="http://schemas.openxmlformats.org/officeDocument/2006/relationships/tags" Target="../tags/tag29.xml"/><Relationship Id="rId3" Type="http://schemas.openxmlformats.org/officeDocument/2006/relationships/tags" Target="../tags/tag4.xml"/><Relationship Id="rId29" Type="http://schemas.openxmlformats.org/officeDocument/2006/relationships/tags" Target="../tags/tag28.xml"/><Relationship Id="rId28" Type="http://schemas.openxmlformats.org/officeDocument/2006/relationships/tags" Target="../tags/tag27.xml"/><Relationship Id="rId27" Type="http://schemas.openxmlformats.org/officeDocument/2006/relationships/tags" Target="../tags/tag26.xml"/><Relationship Id="rId26" Type="http://schemas.openxmlformats.org/officeDocument/2006/relationships/tags" Target="../tags/tag25.xml"/><Relationship Id="rId25" Type="http://schemas.openxmlformats.org/officeDocument/2006/relationships/tags" Target="../tags/tag24.xml"/><Relationship Id="rId24" Type="http://schemas.openxmlformats.org/officeDocument/2006/relationships/tags" Target="../tags/tag23.xml"/><Relationship Id="rId23" Type="http://schemas.openxmlformats.org/officeDocument/2006/relationships/tags" Target="../tags/tag22.xml"/><Relationship Id="rId22" Type="http://schemas.openxmlformats.org/officeDocument/2006/relationships/tags" Target="../tags/tag21.xml"/><Relationship Id="rId21" Type="http://schemas.openxmlformats.org/officeDocument/2006/relationships/tags" Target="../tags/tag20.xml"/><Relationship Id="rId20" Type="http://schemas.openxmlformats.org/officeDocument/2006/relationships/image" Target="../media/image9.png"/><Relationship Id="rId2" Type="http://schemas.openxmlformats.org/officeDocument/2006/relationships/tags" Target="../tags/tag3.xml"/><Relationship Id="rId19" Type="http://schemas.openxmlformats.org/officeDocument/2006/relationships/tags" Target="../tags/tag19.xml"/><Relationship Id="rId18" Type="http://schemas.openxmlformats.org/officeDocument/2006/relationships/tags" Target="../tags/tag18.xml"/><Relationship Id="rId17" Type="http://schemas.openxmlformats.org/officeDocument/2006/relationships/image" Target="../media/image8.png"/><Relationship Id="rId16" Type="http://schemas.openxmlformats.org/officeDocument/2006/relationships/tags" Target="../tags/tag17.xml"/><Relationship Id="rId15" Type="http://schemas.openxmlformats.org/officeDocument/2006/relationships/tags" Target="../tags/tag16.xml"/><Relationship Id="rId14" Type="http://schemas.openxmlformats.org/officeDocument/2006/relationships/tags" Target="../tags/tag15.xml"/><Relationship Id="rId13" Type="http://schemas.openxmlformats.org/officeDocument/2006/relationships/tags" Target="../tags/tag14.xml"/><Relationship Id="rId12" Type="http://schemas.openxmlformats.org/officeDocument/2006/relationships/tags" Target="../tags/tag13.xml"/><Relationship Id="rId11" Type="http://schemas.openxmlformats.org/officeDocument/2006/relationships/tags" Target="../tags/tag12.xml"/><Relationship Id="rId10" Type="http://schemas.openxmlformats.org/officeDocument/2006/relationships/tags" Target="../tags/tag11.xml"/><Relationship Id="rId1" Type="http://schemas.openxmlformats.org/officeDocument/2006/relationships/tags" Target="../tags/tag2.xml"/></Relationships>
</file>

<file path=ppt/slides/_rels/slide2.xml.rels><?xml version="1.0" encoding="UTF-8" standalone="yes"?>
<Relationships xmlns="http://schemas.openxmlformats.org/package/2006/relationships"><Relationship Id="rId9" Type="http://schemas.openxmlformats.org/officeDocument/2006/relationships/image" Target="../media/image12.png"/><Relationship Id="rId8" Type="http://schemas.openxmlformats.org/officeDocument/2006/relationships/tags" Target="../tags/tag55.xml"/><Relationship Id="rId7" Type="http://schemas.openxmlformats.org/officeDocument/2006/relationships/image" Target="../media/image11.png"/><Relationship Id="rId6" Type="http://schemas.openxmlformats.org/officeDocument/2006/relationships/tags" Target="../tags/tag54.xml"/><Relationship Id="rId5" Type="http://schemas.openxmlformats.org/officeDocument/2006/relationships/image" Target="../media/image10.png"/><Relationship Id="rId4" Type="http://schemas.openxmlformats.org/officeDocument/2006/relationships/tags" Target="../tags/tag53.xml"/><Relationship Id="rId37" Type="http://schemas.openxmlformats.org/officeDocument/2006/relationships/notesSlide" Target="../notesSlides/notesSlide2.xml"/><Relationship Id="rId36" Type="http://schemas.openxmlformats.org/officeDocument/2006/relationships/slideLayout" Target="../slideLayouts/slideLayout2.xml"/><Relationship Id="rId35" Type="http://schemas.openxmlformats.org/officeDocument/2006/relationships/tags" Target="../tags/tag76.xml"/><Relationship Id="rId34" Type="http://schemas.openxmlformats.org/officeDocument/2006/relationships/tags" Target="../tags/tag75.xml"/><Relationship Id="rId33" Type="http://schemas.openxmlformats.org/officeDocument/2006/relationships/tags" Target="../tags/tag74.xml"/><Relationship Id="rId32" Type="http://schemas.openxmlformats.org/officeDocument/2006/relationships/image" Target="../media/image17.png"/><Relationship Id="rId31" Type="http://schemas.openxmlformats.org/officeDocument/2006/relationships/tags" Target="../tags/tag73.xml"/><Relationship Id="rId30" Type="http://schemas.openxmlformats.org/officeDocument/2006/relationships/tags" Target="../tags/tag72.xml"/><Relationship Id="rId3" Type="http://schemas.openxmlformats.org/officeDocument/2006/relationships/tags" Target="../tags/tag52.xml"/><Relationship Id="rId29" Type="http://schemas.openxmlformats.org/officeDocument/2006/relationships/tags" Target="../tags/tag71.xml"/><Relationship Id="rId28" Type="http://schemas.openxmlformats.org/officeDocument/2006/relationships/tags" Target="../tags/tag70.xml"/><Relationship Id="rId27" Type="http://schemas.openxmlformats.org/officeDocument/2006/relationships/tags" Target="../tags/tag69.xml"/><Relationship Id="rId26" Type="http://schemas.openxmlformats.org/officeDocument/2006/relationships/tags" Target="../tags/tag68.xml"/><Relationship Id="rId25" Type="http://schemas.openxmlformats.org/officeDocument/2006/relationships/tags" Target="../tags/tag67.xml"/><Relationship Id="rId24" Type="http://schemas.openxmlformats.org/officeDocument/2006/relationships/tags" Target="../tags/tag66.xml"/><Relationship Id="rId23" Type="http://schemas.openxmlformats.org/officeDocument/2006/relationships/tags" Target="../tags/tag65.xml"/><Relationship Id="rId22" Type="http://schemas.openxmlformats.org/officeDocument/2006/relationships/tags" Target="../tags/tag64.xml"/><Relationship Id="rId21" Type="http://schemas.openxmlformats.org/officeDocument/2006/relationships/tags" Target="../tags/tag63.xml"/><Relationship Id="rId20" Type="http://schemas.openxmlformats.org/officeDocument/2006/relationships/tags" Target="../tags/tag62.xml"/><Relationship Id="rId2" Type="http://schemas.openxmlformats.org/officeDocument/2006/relationships/tags" Target="../tags/tag51.xml"/><Relationship Id="rId19" Type="http://schemas.openxmlformats.org/officeDocument/2006/relationships/tags" Target="../tags/tag61.xml"/><Relationship Id="rId18" Type="http://schemas.openxmlformats.org/officeDocument/2006/relationships/tags" Target="../tags/tag60.xml"/><Relationship Id="rId17" Type="http://schemas.openxmlformats.org/officeDocument/2006/relationships/tags" Target="../tags/tag59.xml"/><Relationship Id="rId16" Type="http://schemas.openxmlformats.org/officeDocument/2006/relationships/tags" Target="../tags/tag58.xml"/><Relationship Id="rId15" Type="http://schemas.openxmlformats.org/officeDocument/2006/relationships/image" Target="../media/image16.png"/><Relationship Id="rId14" Type="http://schemas.openxmlformats.org/officeDocument/2006/relationships/image" Target="../media/image15.png"/><Relationship Id="rId13" Type="http://schemas.openxmlformats.org/officeDocument/2006/relationships/tags" Target="../tags/tag57.xml"/><Relationship Id="rId12" Type="http://schemas.openxmlformats.org/officeDocument/2006/relationships/image" Target="../media/image14.png"/><Relationship Id="rId11" Type="http://schemas.openxmlformats.org/officeDocument/2006/relationships/image" Target="../media/image13.png"/><Relationship Id="rId10" Type="http://schemas.openxmlformats.org/officeDocument/2006/relationships/tags" Target="../tags/tag56.xml"/><Relationship Id="rId1" Type="http://schemas.openxmlformats.org/officeDocument/2006/relationships/tags" Target="../tags/tag50.xml"/></Relationships>
</file>

<file path=ppt/slides/_rels/slide3.xml.rels><?xml version="1.0" encoding="UTF-8" standalone="yes"?>
<Relationships xmlns="http://schemas.openxmlformats.org/package/2006/relationships"><Relationship Id="rId9" Type="http://schemas.openxmlformats.org/officeDocument/2006/relationships/tags" Target="../tags/tag82.xml"/><Relationship Id="rId8" Type="http://schemas.openxmlformats.org/officeDocument/2006/relationships/image" Target="../media/image20.png"/><Relationship Id="rId7" Type="http://schemas.openxmlformats.org/officeDocument/2006/relationships/tags" Target="../tags/tag81.xml"/><Relationship Id="rId6" Type="http://schemas.openxmlformats.org/officeDocument/2006/relationships/image" Target="../media/image19.png"/><Relationship Id="rId5" Type="http://schemas.openxmlformats.org/officeDocument/2006/relationships/tags" Target="../tags/tag80.xml"/><Relationship Id="rId41" Type="http://schemas.openxmlformats.org/officeDocument/2006/relationships/notesSlide" Target="../notesSlides/notesSlide3.xml"/><Relationship Id="rId40" Type="http://schemas.openxmlformats.org/officeDocument/2006/relationships/slideLayout" Target="../slideLayouts/slideLayout2.xml"/><Relationship Id="rId4" Type="http://schemas.openxmlformats.org/officeDocument/2006/relationships/tags" Target="../tags/tag79.xml"/><Relationship Id="rId39" Type="http://schemas.openxmlformats.org/officeDocument/2006/relationships/image" Target="../media/image12.png"/><Relationship Id="rId38" Type="http://schemas.openxmlformats.org/officeDocument/2006/relationships/tags" Target="../tags/tag109.xml"/><Relationship Id="rId37" Type="http://schemas.openxmlformats.org/officeDocument/2006/relationships/tags" Target="../tags/tag108.xml"/><Relationship Id="rId36" Type="http://schemas.openxmlformats.org/officeDocument/2006/relationships/tags" Target="../tags/tag107.xml"/><Relationship Id="rId35" Type="http://schemas.openxmlformats.org/officeDocument/2006/relationships/tags" Target="../tags/tag106.xml"/><Relationship Id="rId34" Type="http://schemas.openxmlformats.org/officeDocument/2006/relationships/tags" Target="../tags/tag105.xml"/><Relationship Id="rId33" Type="http://schemas.openxmlformats.org/officeDocument/2006/relationships/tags" Target="../tags/tag104.xml"/><Relationship Id="rId32" Type="http://schemas.openxmlformats.org/officeDocument/2006/relationships/tags" Target="../tags/tag103.xml"/><Relationship Id="rId31" Type="http://schemas.openxmlformats.org/officeDocument/2006/relationships/tags" Target="../tags/tag102.xml"/><Relationship Id="rId30" Type="http://schemas.openxmlformats.org/officeDocument/2006/relationships/tags" Target="../tags/tag101.xml"/><Relationship Id="rId3" Type="http://schemas.openxmlformats.org/officeDocument/2006/relationships/tags" Target="../tags/tag78.xml"/><Relationship Id="rId29" Type="http://schemas.openxmlformats.org/officeDocument/2006/relationships/tags" Target="../tags/tag100.xml"/><Relationship Id="rId28" Type="http://schemas.openxmlformats.org/officeDocument/2006/relationships/image" Target="../media/image22.png"/><Relationship Id="rId27" Type="http://schemas.openxmlformats.org/officeDocument/2006/relationships/tags" Target="../tags/tag99.xml"/><Relationship Id="rId26" Type="http://schemas.openxmlformats.org/officeDocument/2006/relationships/tags" Target="../tags/tag98.xml"/><Relationship Id="rId25" Type="http://schemas.openxmlformats.org/officeDocument/2006/relationships/tags" Target="../tags/tag97.xml"/><Relationship Id="rId24" Type="http://schemas.openxmlformats.org/officeDocument/2006/relationships/tags" Target="../tags/tag96.xml"/><Relationship Id="rId23" Type="http://schemas.openxmlformats.org/officeDocument/2006/relationships/tags" Target="../tags/tag95.xml"/><Relationship Id="rId22" Type="http://schemas.openxmlformats.org/officeDocument/2006/relationships/tags" Target="../tags/tag94.xml"/><Relationship Id="rId21" Type="http://schemas.openxmlformats.org/officeDocument/2006/relationships/tags" Target="../tags/tag93.xml"/><Relationship Id="rId20" Type="http://schemas.openxmlformats.org/officeDocument/2006/relationships/tags" Target="../tags/tag92.xml"/><Relationship Id="rId2" Type="http://schemas.openxmlformats.org/officeDocument/2006/relationships/tags" Target="../tags/tag77.xml"/><Relationship Id="rId19" Type="http://schemas.openxmlformats.org/officeDocument/2006/relationships/tags" Target="../tags/tag91.xml"/><Relationship Id="rId18" Type="http://schemas.openxmlformats.org/officeDocument/2006/relationships/tags" Target="../tags/tag90.xml"/><Relationship Id="rId17" Type="http://schemas.openxmlformats.org/officeDocument/2006/relationships/tags" Target="../tags/tag89.xml"/><Relationship Id="rId16" Type="http://schemas.openxmlformats.org/officeDocument/2006/relationships/tags" Target="../tags/tag88.xml"/><Relationship Id="rId15" Type="http://schemas.openxmlformats.org/officeDocument/2006/relationships/tags" Target="../tags/tag87.xml"/><Relationship Id="rId14" Type="http://schemas.openxmlformats.org/officeDocument/2006/relationships/tags" Target="../tags/tag86.xml"/><Relationship Id="rId13" Type="http://schemas.openxmlformats.org/officeDocument/2006/relationships/tags" Target="../tags/tag85.xml"/><Relationship Id="rId12" Type="http://schemas.openxmlformats.org/officeDocument/2006/relationships/image" Target="../media/image21.png"/><Relationship Id="rId11" Type="http://schemas.openxmlformats.org/officeDocument/2006/relationships/tags" Target="../tags/tag84.xml"/><Relationship Id="rId10" Type="http://schemas.openxmlformats.org/officeDocument/2006/relationships/tags" Target="../tags/tag83.xml"/><Relationship Id="rId1" Type="http://schemas.openxmlformats.org/officeDocument/2006/relationships/image" Target="../media/image18.png"/></Relationships>
</file>

<file path=ppt/slides/_rels/slide4.xml.rels><?xml version="1.0" encoding="UTF-8" standalone="yes"?>
<Relationships xmlns="http://schemas.openxmlformats.org/package/2006/relationships"><Relationship Id="rId9" Type="http://schemas.openxmlformats.org/officeDocument/2006/relationships/tags" Target="../tags/tag118.xml"/><Relationship Id="rId8" Type="http://schemas.openxmlformats.org/officeDocument/2006/relationships/tags" Target="../tags/tag117.xml"/><Relationship Id="rId7" Type="http://schemas.openxmlformats.org/officeDocument/2006/relationships/tags" Target="../tags/tag116.xml"/><Relationship Id="rId6" Type="http://schemas.openxmlformats.org/officeDocument/2006/relationships/tags" Target="../tags/tag115.xml"/><Relationship Id="rId5" Type="http://schemas.openxmlformats.org/officeDocument/2006/relationships/tags" Target="../tags/tag114.xml"/><Relationship Id="rId4" Type="http://schemas.openxmlformats.org/officeDocument/2006/relationships/tags" Target="../tags/tag113.xml"/><Relationship Id="rId3" Type="http://schemas.openxmlformats.org/officeDocument/2006/relationships/tags" Target="../tags/tag112.xml"/><Relationship Id="rId25" Type="http://schemas.openxmlformats.org/officeDocument/2006/relationships/slideLayout" Target="../slideLayouts/slideLayout2.xml"/><Relationship Id="rId24" Type="http://schemas.openxmlformats.org/officeDocument/2006/relationships/tags" Target="../tags/tag133.xml"/><Relationship Id="rId23" Type="http://schemas.openxmlformats.org/officeDocument/2006/relationships/tags" Target="../tags/tag132.xml"/><Relationship Id="rId22" Type="http://schemas.openxmlformats.org/officeDocument/2006/relationships/tags" Target="../tags/tag131.xml"/><Relationship Id="rId21" Type="http://schemas.openxmlformats.org/officeDocument/2006/relationships/tags" Target="../tags/tag130.xml"/><Relationship Id="rId20" Type="http://schemas.openxmlformats.org/officeDocument/2006/relationships/tags" Target="../tags/tag129.xml"/><Relationship Id="rId2" Type="http://schemas.openxmlformats.org/officeDocument/2006/relationships/tags" Target="../tags/tag111.xml"/><Relationship Id="rId19" Type="http://schemas.openxmlformats.org/officeDocument/2006/relationships/tags" Target="../tags/tag128.xml"/><Relationship Id="rId18" Type="http://schemas.openxmlformats.org/officeDocument/2006/relationships/tags" Target="../tags/tag127.xml"/><Relationship Id="rId17" Type="http://schemas.openxmlformats.org/officeDocument/2006/relationships/tags" Target="../tags/tag126.xml"/><Relationship Id="rId16" Type="http://schemas.openxmlformats.org/officeDocument/2006/relationships/tags" Target="../tags/tag125.xml"/><Relationship Id="rId15" Type="http://schemas.openxmlformats.org/officeDocument/2006/relationships/tags" Target="../tags/tag124.xml"/><Relationship Id="rId14" Type="http://schemas.openxmlformats.org/officeDocument/2006/relationships/tags" Target="../tags/tag123.xml"/><Relationship Id="rId13" Type="http://schemas.openxmlformats.org/officeDocument/2006/relationships/tags" Target="../tags/tag122.xml"/><Relationship Id="rId12" Type="http://schemas.openxmlformats.org/officeDocument/2006/relationships/tags" Target="../tags/tag121.xml"/><Relationship Id="rId11" Type="http://schemas.openxmlformats.org/officeDocument/2006/relationships/tags" Target="../tags/tag120.xml"/><Relationship Id="rId10" Type="http://schemas.openxmlformats.org/officeDocument/2006/relationships/tags" Target="../tags/tag119.xml"/><Relationship Id="rId1" Type="http://schemas.openxmlformats.org/officeDocument/2006/relationships/tags" Target="../tags/tag110.xml"/></Relationships>
</file>

<file path=ppt/slides/_rels/slide5.xml.rels><?xml version="1.0" encoding="UTF-8" standalone="yes"?>
<Relationships xmlns="http://schemas.openxmlformats.org/package/2006/relationships"><Relationship Id="rId9" Type="http://schemas.openxmlformats.org/officeDocument/2006/relationships/tags" Target="../tags/tag141.xml"/><Relationship Id="rId8" Type="http://schemas.openxmlformats.org/officeDocument/2006/relationships/image" Target="../media/image23.png"/><Relationship Id="rId7" Type="http://schemas.openxmlformats.org/officeDocument/2006/relationships/tags" Target="../tags/tag140.xml"/><Relationship Id="rId6" Type="http://schemas.openxmlformats.org/officeDocument/2006/relationships/tags" Target="../tags/tag139.xml"/><Relationship Id="rId5" Type="http://schemas.openxmlformats.org/officeDocument/2006/relationships/tags" Target="../tags/tag138.xml"/><Relationship Id="rId4" Type="http://schemas.openxmlformats.org/officeDocument/2006/relationships/tags" Target="../tags/tag137.xml"/><Relationship Id="rId3" Type="http://schemas.openxmlformats.org/officeDocument/2006/relationships/tags" Target="../tags/tag136.xml"/><Relationship Id="rId24" Type="http://schemas.openxmlformats.org/officeDocument/2006/relationships/slideLayout" Target="../slideLayouts/slideLayout2.xml"/><Relationship Id="rId23" Type="http://schemas.openxmlformats.org/officeDocument/2006/relationships/tags" Target="../tags/tag154.xml"/><Relationship Id="rId22" Type="http://schemas.openxmlformats.org/officeDocument/2006/relationships/tags" Target="../tags/tag153.xml"/><Relationship Id="rId21" Type="http://schemas.openxmlformats.org/officeDocument/2006/relationships/tags" Target="../tags/tag152.xml"/><Relationship Id="rId20" Type="http://schemas.openxmlformats.org/officeDocument/2006/relationships/tags" Target="../tags/tag151.xml"/><Relationship Id="rId2" Type="http://schemas.openxmlformats.org/officeDocument/2006/relationships/tags" Target="../tags/tag135.xml"/><Relationship Id="rId19" Type="http://schemas.openxmlformats.org/officeDocument/2006/relationships/tags" Target="../tags/tag150.xml"/><Relationship Id="rId18" Type="http://schemas.openxmlformats.org/officeDocument/2006/relationships/tags" Target="../tags/tag149.xml"/><Relationship Id="rId17" Type="http://schemas.openxmlformats.org/officeDocument/2006/relationships/tags" Target="../tags/tag148.xml"/><Relationship Id="rId16" Type="http://schemas.openxmlformats.org/officeDocument/2006/relationships/tags" Target="../tags/tag147.xml"/><Relationship Id="rId15" Type="http://schemas.openxmlformats.org/officeDocument/2006/relationships/tags" Target="../tags/tag146.xml"/><Relationship Id="rId14" Type="http://schemas.openxmlformats.org/officeDocument/2006/relationships/tags" Target="../tags/tag145.xml"/><Relationship Id="rId13" Type="http://schemas.openxmlformats.org/officeDocument/2006/relationships/tags" Target="../tags/tag144.xml"/><Relationship Id="rId12" Type="http://schemas.openxmlformats.org/officeDocument/2006/relationships/tags" Target="../tags/tag143.xml"/><Relationship Id="rId11" Type="http://schemas.openxmlformats.org/officeDocument/2006/relationships/tags" Target="../tags/tag142.xml"/><Relationship Id="rId10" Type="http://schemas.openxmlformats.org/officeDocument/2006/relationships/image" Target="../media/image24.png"/><Relationship Id="rId1" Type="http://schemas.openxmlformats.org/officeDocument/2006/relationships/tags" Target="../tags/tag134.xml"/></Relationships>
</file>

<file path=ppt/slides/_rels/slide6.xml.rels><?xml version="1.0" encoding="UTF-8" standalone="yes"?>
<Relationships xmlns="http://schemas.openxmlformats.org/package/2006/relationships"><Relationship Id="rId9" Type="http://schemas.openxmlformats.org/officeDocument/2006/relationships/image" Target="../media/image25.png"/><Relationship Id="rId8" Type="http://schemas.openxmlformats.org/officeDocument/2006/relationships/tags" Target="../tags/tag162.xml"/><Relationship Id="rId7" Type="http://schemas.openxmlformats.org/officeDocument/2006/relationships/tags" Target="../tags/tag161.xml"/><Relationship Id="rId6" Type="http://schemas.openxmlformats.org/officeDocument/2006/relationships/tags" Target="../tags/tag160.xml"/><Relationship Id="rId5" Type="http://schemas.openxmlformats.org/officeDocument/2006/relationships/tags" Target="../tags/tag159.xml"/><Relationship Id="rId4" Type="http://schemas.openxmlformats.org/officeDocument/2006/relationships/tags" Target="../tags/tag158.xml"/><Relationship Id="rId3" Type="http://schemas.openxmlformats.org/officeDocument/2006/relationships/tags" Target="../tags/tag157.xml"/><Relationship Id="rId2" Type="http://schemas.openxmlformats.org/officeDocument/2006/relationships/tags" Target="../tags/tag156.xml"/><Relationship Id="rId18" Type="http://schemas.openxmlformats.org/officeDocument/2006/relationships/slideLayout" Target="../slideLayouts/slideLayout2.xml"/><Relationship Id="rId17" Type="http://schemas.openxmlformats.org/officeDocument/2006/relationships/tags" Target="../tags/tag169.xml"/><Relationship Id="rId16" Type="http://schemas.openxmlformats.org/officeDocument/2006/relationships/tags" Target="../tags/tag168.xml"/><Relationship Id="rId15" Type="http://schemas.openxmlformats.org/officeDocument/2006/relationships/tags" Target="../tags/tag167.xml"/><Relationship Id="rId14" Type="http://schemas.openxmlformats.org/officeDocument/2006/relationships/tags" Target="../tags/tag166.xml"/><Relationship Id="rId13" Type="http://schemas.openxmlformats.org/officeDocument/2006/relationships/tags" Target="../tags/tag165.xml"/><Relationship Id="rId12" Type="http://schemas.openxmlformats.org/officeDocument/2006/relationships/tags" Target="../tags/tag164.xml"/><Relationship Id="rId11" Type="http://schemas.openxmlformats.org/officeDocument/2006/relationships/image" Target="../media/image26.png"/><Relationship Id="rId10" Type="http://schemas.openxmlformats.org/officeDocument/2006/relationships/tags" Target="../tags/tag163.xml"/><Relationship Id="rId1" Type="http://schemas.openxmlformats.org/officeDocument/2006/relationships/tags" Target="../tags/tag155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标题 1"/>
          <p:cNvSpPr txBox="1"/>
          <p:nvPr/>
        </p:nvSpPr>
        <p:spPr>
          <a:xfrm>
            <a:off x="533436" y="390115"/>
            <a:ext cx="11198316" cy="462021"/>
          </a:xfrm>
          <a:prstGeom prst="rect">
            <a:avLst/>
          </a:prstGeom>
        </p:spPr>
        <p:txBody>
          <a:bodyPr anchor="t" anchorCtr="0"/>
          <a:lstStyle>
            <a:lvl1pPr algn="l" defTabSz="11861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5" b="1" kern="1200">
                <a:solidFill>
                  <a:srgbClr val="99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marL="0" marR="0" lvl="0" indent="0" algn="l" defTabSz="118618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sz="2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微软雅黑" panose="020B0503020204020204" pitchFamily="34" charset="-122"/>
              </a:rPr>
              <a:t>门前四包监管</a:t>
            </a:r>
            <a:r>
              <a:rPr kumimoji="0" lang="zh-CN" alt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微软雅黑" panose="020B0503020204020204" pitchFamily="34" charset="-122"/>
              </a:rPr>
              <a:t>助手，大模型赋能精准识别、高效处置、</a:t>
            </a:r>
            <a:r>
              <a:rPr kumimoji="0" lang="zh-CN" alt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微软雅黑" panose="020B0503020204020204" pitchFamily="34" charset="-122"/>
              </a:rPr>
              <a:t>便捷交互，提升监管效率</a:t>
            </a:r>
            <a:endParaRPr kumimoji="0" lang="zh-CN" altLang="en-US" sz="2400" b="1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  <a:sym typeface="微软雅黑" panose="020B0503020204020204" pitchFamily="34" charset="-122"/>
            </a:endParaRPr>
          </a:p>
        </p:txBody>
      </p:sp>
      <p:sp>
        <p:nvSpPr>
          <p:cNvPr id="93" name="矩形 92"/>
          <p:cNvSpPr/>
          <p:nvPr/>
        </p:nvSpPr>
        <p:spPr>
          <a:xfrm>
            <a:off x="8248650" y="1390015"/>
            <a:ext cx="2540635" cy="41021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小模型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协同精准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识别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4" name="矩形 93"/>
          <p:cNvSpPr/>
          <p:nvPr/>
        </p:nvSpPr>
        <p:spPr>
          <a:xfrm>
            <a:off x="8235315" y="2726055"/>
            <a:ext cx="2540635" cy="41021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pPr algn="l">
              <a:buClrTx/>
              <a:buSzTx/>
              <a:buFontTx/>
            </a:pP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大模型协同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微软雅黑" panose="020B0503020204020204" pitchFamily="34" charset="-122"/>
              </a:rPr>
              <a:t>高效处置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5" name="矩形 94"/>
          <p:cNvSpPr/>
          <p:nvPr/>
        </p:nvSpPr>
        <p:spPr>
          <a:xfrm>
            <a:off x="8243570" y="4048125"/>
            <a:ext cx="2540635" cy="41021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/>
          <a:p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大模型分析灵活高效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79" name="矩形 78"/>
          <p:cNvSpPr/>
          <p:nvPr>
            <p:custDataLst>
              <p:tags r:id="rId1"/>
            </p:custDataLst>
          </p:nvPr>
        </p:nvSpPr>
        <p:spPr>
          <a:xfrm>
            <a:off x="481487" y="4238292"/>
            <a:ext cx="326001" cy="2098373"/>
          </a:xfrm>
          <a:prstGeom prst="rect">
            <a:avLst/>
          </a:prstGeom>
          <a:solidFill>
            <a:srgbClr val="FFEECD"/>
          </a:solidFill>
          <a:ln>
            <a:solidFill>
              <a:srgbClr val="FFEECD"/>
            </a:solidFill>
          </a:ln>
        </p:spPr>
        <p:txBody>
          <a:bodyPr vert="horz" wrap="square" lIns="0" tIns="0" rIns="0" bIns="0" anchor="ctr" anchorCtr="0">
            <a:noAutofit/>
          </a:bodyPr>
          <a:lstStyle/>
          <a:p>
            <a:pPr algn="ctr" defTabSz="913130">
              <a:defRPr/>
            </a:pPr>
            <a:r>
              <a:rPr lang="en-US" altLang="zh-CN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rPr>
              <a:t>AI</a:t>
            </a:r>
            <a:r>
              <a:rPr lang="zh-CN" altLang="en-US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rPr>
              <a:t>底座</a:t>
            </a:r>
            <a:endParaRPr lang="zh-CN" altLang="en-US" sz="900" b="1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charset="0"/>
            </a:endParaRPr>
          </a:p>
        </p:txBody>
      </p:sp>
      <p:sp>
        <p:nvSpPr>
          <p:cNvPr id="82" name="矩形 81"/>
          <p:cNvSpPr/>
          <p:nvPr>
            <p:custDataLst>
              <p:tags r:id="rId2"/>
            </p:custDataLst>
          </p:nvPr>
        </p:nvSpPr>
        <p:spPr>
          <a:xfrm>
            <a:off x="481487" y="1905799"/>
            <a:ext cx="326001" cy="2243451"/>
          </a:xfrm>
          <a:prstGeom prst="rect">
            <a:avLst/>
          </a:prstGeom>
          <a:solidFill>
            <a:srgbClr val="FFEECD"/>
          </a:solidFill>
          <a:ln>
            <a:solidFill>
              <a:srgbClr val="FFEECD"/>
            </a:solidFill>
          </a:ln>
        </p:spPr>
        <p:txBody>
          <a:bodyPr vert="horz" wrap="square" lIns="0" tIns="0" rIns="0" bIns="0" anchor="ctr" anchorCtr="0">
            <a:noAutofit/>
          </a:bodyPr>
          <a:lstStyle/>
          <a:p>
            <a:pPr algn="ctr" defTabSz="913765">
              <a:defRPr/>
            </a:pPr>
            <a:r>
              <a:rPr sz="900" b="1" dirty="0">
                <a:solidFill>
                  <a:srgbClr val="1D1D1A">
                    <a:lumMod val="90000"/>
                    <a:lumOff val="1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智能分析中枢</a:t>
            </a:r>
            <a:endParaRPr sz="900" b="1" dirty="0">
              <a:solidFill>
                <a:srgbClr val="1D1D1A">
                  <a:lumMod val="90000"/>
                  <a:lumOff val="1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" name="矩形 1"/>
          <p:cNvSpPr/>
          <p:nvPr>
            <p:custDataLst>
              <p:tags r:id="rId3"/>
            </p:custDataLst>
          </p:nvPr>
        </p:nvSpPr>
        <p:spPr>
          <a:xfrm>
            <a:off x="481487" y="1315629"/>
            <a:ext cx="326001" cy="501127"/>
          </a:xfrm>
          <a:prstGeom prst="rect">
            <a:avLst/>
          </a:prstGeom>
          <a:solidFill>
            <a:srgbClr val="FFEECD"/>
          </a:solidFill>
          <a:ln>
            <a:solidFill>
              <a:srgbClr val="FFEECD"/>
            </a:solidFill>
          </a:ln>
        </p:spPr>
        <p:txBody>
          <a:bodyPr vert="horz" wrap="square" lIns="0" tIns="0" rIns="0" bIns="0" anchor="ctr" anchorCtr="0">
            <a:noAutofit/>
          </a:bodyPr>
          <a:lstStyle/>
          <a:p>
            <a:pPr algn="ctr" defTabSz="913130">
              <a:defRPr/>
            </a:pPr>
            <a:r>
              <a:rPr lang="zh-CN" altLang="en-US" sz="9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rPr>
              <a:t>前端应用</a:t>
            </a:r>
            <a:endParaRPr lang="zh-CN" altLang="en-US" sz="900" b="1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charset="0"/>
            </a:endParaRPr>
          </a:p>
        </p:txBody>
      </p:sp>
      <p:sp>
        <p:nvSpPr>
          <p:cNvPr id="80" name="矩形 79"/>
          <p:cNvSpPr/>
          <p:nvPr>
            <p:custDataLst>
              <p:tags r:id="rId4"/>
            </p:custDataLst>
          </p:nvPr>
        </p:nvSpPr>
        <p:spPr>
          <a:xfrm>
            <a:off x="918129" y="4820339"/>
            <a:ext cx="6674578" cy="459608"/>
          </a:xfrm>
          <a:prstGeom prst="rect">
            <a:avLst/>
          </a:prstGeom>
          <a:noFill/>
          <a:ln w="12700" cap="flat" cmpd="sng" algn="ctr">
            <a:solidFill>
              <a:srgbClr val="1D1D1A">
                <a:lumMod val="50000"/>
                <a:lumOff val="50000"/>
              </a:srgbClr>
            </a:solidFill>
            <a:prstDash val="solid"/>
            <a:miter lim="800000"/>
          </a:ln>
          <a:effectLst/>
        </p:spPr>
        <p:txBody>
          <a:bodyPr vert="horz" wrap="square" lIns="35978" rtlCol="0" anchor="ctr" anchorCtr="0">
            <a:noAutofit/>
          </a:bodyPr>
          <a:lstStyle/>
          <a:p>
            <a:pPr defTabSz="913765">
              <a:defRPr/>
            </a:pPr>
            <a:r>
              <a:rPr lang="en-US" altLang="zh-CN" sz="8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  <a:sym typeface="微软雅黑" panose="020B0503020204020204" pitchFamily="34" charset="-122"/>
              </a:rPr>
              <a:t>AI</a:t>
            </a:r>
            <a:r>
              <a:rPr lang="zh-CN" altLang="en-US" sz="8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  <a:sym typeface="微软雅黑" panose="020B0503020204020204" pitchFamily="34" charset="-122"/>
              </a:rPr>
              <a:t>平台</a:t>
            </a:r>
            <a:endParaRPr lang="zh-CN" altLang="en-US" sz="800" b="1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charset="0"/>
              <a:sym typeface="微软雅黑" panose="020B0503020204020204" pitchFamily="34" charset="-122"/>
            </a:endParaRPr>
          </a:p>
        </p:txBody>
      </p:sp>
      <p:sp>
        <p:nvSpPr>
          <p:cNvPr id="81" name="文本框 80"/>
          <p:cNvSpPr txBox="1"/>
          <p:nvPr>
            <p:custDataLst>
              <p:tags r:id="rId5"/>
            </p:custDataLst>
          </p:nvPr>
        </p:nvSpPr>
        <p:spPr>
          <a:xfrm>
            <a:off x="924911" y="5331724"/>
            <a:ext cx="6667795" cy="385942"/>
          </a:xfrm>
          <a:prstGeom prst="rect">
            <a:avLst/>
          </a:prstGeom>
          <a:noFill/>
          <a:ln w="12700" cap="flat" cmpd="sng" algn="ctr">
            <a:solidFill>
              <a:srgbClr val="1D1D1A">
                <a:lumMod val="50000"/>
                <a:lumOff val="50000"/>
              </a:srgbClr>
            </a:solidFill>
            <a:prstDash val="solid"/>
            <a:miter lim="800000"/>
          </a:ln>
          <a:effectLst/>
        </p:spPr>
        <p:txBody>
          <a:bodyPr vert="horz" wrap="square" lIns="35978" rtlCol="0" anchor="ctr" anchorCtr="0">
            <a:noAutofit/>
          </a:bodyPr>
          <a:lstStyle>
            <a:defPPr>
              <a:defRPr lang="zh-CN"/>
            </a:defPPr>
            <a:lvl1pPr defTabSz="913765">
              <a:defRPr sz="1100" b="1" kern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defRPr>
            </a:lvl1pPr>
          </a:lstStyle>
          <a:p>
            <a:pPr marL="0" marR="0" lvl="0" indent="0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云服务</a:t>
            </a:r>
            <a:endParaRPr kumimoji="0" lang="zh-CN" altLang="en-US" sz="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83" name="矩形 82"/>
          <p:cNvSpPr/>
          <p:nvPr>
            <p:custDataLst>
              <p:tags r:id="rId6"/>
            </p:custDataLst>
          </p:nvPr>
        </p:nvSpPr>
        <p:spPr>
          <a:xfrm>
            <a:off x="1702777" y="5380452"/>
            <a:ext cx="5816829" cy="283193"/>
          </a:xfrm>
          <a:prstGeom prst="rect">
            <a:avLst/>
          </a:prstGeom>
          <a:solidFill>
            <a:srgbClr val="F2F2F2"/>
          </a:solidFill>
          <a:ln>
            <a:solidFill>
              <a:srgbClr val="C7C7C7"/>
            </a:solidFill>
          </a:ln>
        </p:spPr>
        <p:txBody>
          <a:bodyPr wrap="square" lIns="0" tIns="35978" rIns="0" bIns="35978" anchor="ctr" anchorCtr="0">
            <a:noAutofit/>
          </a:bodyPr>
          <a:lstStyle/>
          <a:p>
            <a:pPr algn="ctr" defTabSz="913130">
              <a:defRPr/>
            </a:pPr>
            <a:r>
              <a:rPr lang="en-US" altLang="zh-CN" sz="8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rPr>
              <a:t>HCS/HCSO</a:t>
            </a:r>
            <a:r>
              <a:rPr lang="zh-CN" altLang="en-US" sz="8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rPr>
              <a:t>（</a:t>
            </a:r>
            <a:r>
              <a:rPr lang="en-US" altLang="zh-CN" sz="800" kern="0" dirty="0" err="1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rPr>
              <a:t>IaaS</a:t>
            </a:r>
            <a:r>
              <a:rPr lang="zh-CN" altLang="en-US" sz="8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rPr>
              <a:t>及高阶云服务）</a:t>
            </a:r>
            <a:endParaRPr lang="zh-CN" altLang="en-US" sz="8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charset="0"/>
            </a:endParaRPr>
          </a:p>
        </p:txBody>
      </p:sp>
      <p:sp>
        <p:nvSpPr>
          <p:cNvPr id="10" name="矩形 9"/>
          <p:cNvSpPr/>
          <p:nvPr>
            <p:custDataLst>
              <p:tags r:id="rId7"/>
            </p:custDataLst>
          </p:nvPr>
        </p:nvSpPr>
        <p:spPr>
          <a:xfrm>
            <a:off x="924913" y="4244737"/>
            <a:ext cx="6674577" cy="526188"/>
          </a:xfrm>
          <a:prstGeom prst="rect">
            <a:avLst/>
          </a:prstGeom>
          <a:noFill/>
          <a:ln w="12700" cap="flat" cmpd="sng" algn="ctr">
            <a:solidFill>
              <a:srgbClr val="1D1D1A">
                <a:lumMod val="50000"/>
                <a:lumOff val="50000"/>
              </a:srgbClr>
            </a:solidFill>
            <a:prstDash val="solid"/>
            <a:miter lim="800000"/>
          </a:ln>
          <a:effectLst/>
        </p:spPr>
        <p:txBody>
          <a:bodyPr vert="horz" wrap="square" lIns="35978" rtlCol="0" anchor="ctr" anchorCtr="0">
            <a:noAutofit/>
          </a:bodyPr>
          <a:lstStyle/>
          <a:p>
            <a:pPr defTabSz="913765">
              <a:defRPr/>
            </a:pPr>
            <a:r>
              <a:rPr lang="zh-CN" altLang="en-US" sz="8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  <a:sym typeface="微软雅黑" panose="020B0503020204020204" pitchFamily="34" charset="-122"/>
              </a:rPr>
              <a:t>工具</a:t>
            </a:r>
            <a:endParaRPr lang="en-US" altLang="zh-CN" sz="800" b="1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charset="0"/>
              <a:sym typeface="微软雅黑" panose="020B0503020204020204" pitchFamily="34" charset="-122"/>
            </a:endParaRPr>
          </a:p>
          <a:p>
            <a:pPr defTabSz="913765">
              <a:defRPr/>
            </a:pPr>
            <a:r>
              <a:rPr lang="zh-CN" altLang="en-US" sz="800" b="1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  <a:sym typeface="微软雅黑" panose="020B0503020204020204" pitchFamily="34" charset="-122"/>
              </a:rPr>
              <a:t>套件</a:t>
            </a:r>
            <a:endParaRPr lang="en-US" altLang="zh-CN" sz="800" b="1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charset="0"/>
              <a:sym typeface="微软雅黑" panose="020B0503020204020204" pitchFamily="34" charset="-122"/>
            </a:endParaRPr>
          </a:p>
        </p:txBody>
      </p:sp>
      <p:sp>
        <p:nvSpPr>
          <p:cNvPr id="96" name="矩形 95"/>
          <p:cNvSpPr/>
          <p:nvPr>
            <p:custDataLst>
              <p:tags r:id="rId8"/>
            </p:custDataLst>
          </p:nvPr>
        </p:nvSpPr>
        <p:spPr>
          <a:xfrm>
            <a:off x="948523" y="3786587"/>
            <a:ext cx="6654221" cy="369108"/>
          </a:xfrm>
          <a:prstGeom prst="rect">
            <a:avLst/>
          </a:prstGeom>
          <a:solidFill>
            <a:srgbClr val="F2F2F2"/>
          </a:solidFill>
          <a:ln>
            <a:solidFill>
              <a:srgbClr val="C7C7C7"/>
            </a:solidFill>
          </a:ln>
        </p:spPr>
        <p:txBody>
          <a:bodyPr wrap="square" lIns="0" tIns="35978" rIns="0" bIns="35978" anchor="ctr" anchorCtr="0">
            <a:noAutofit/>
          </a:bodyPr>
          <a:lstStyle/>
          <a:p>
            <a:pPr algn="ctr" defTabSz="913130">
              <a:defRPr/>
            </a:pPr>
            <a:r>
              <a:rPr lang="zh-CN" altLang="en-US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rPr>
              <a:t>悠然城市</a:t>
            </a:r>
            <a:r>
              <a:rPr lang="zh-CN" altLang="en-US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rPr>
              <a:t>治理大模型</a:t>
            </a:r>
            <a:r>
              <a:rPr lang="en-US" altLang="zh-CN" sz="9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rPr>
              <a:t>-L1</a:t>
            </a:r>
            <a:endParaRPr lang="en-US" altLang="zh-CN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charset="0"/>
            </a:endParaRPr>
          </a:p>
          <a:p>
            <a:pPr algn="ctr" defTabSz="913130">
              <a:defRPr/>
            </a:pPr>
            <a:r>
              <a:rPr lang="zh-CN" altLang="en-US" sz="8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rPr>
              <a:t>（治理知识搜索 治理通用问答  治理智能问数  城市事件感知  城市</a:t>
            </a:r>
            <a:r>
              <a:rPr lang="zh-CN" altLang="en-US" sz="8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rPr>
              <a:t>事件理解）</a:t>
            </a:r>
            <a:endParaRPr lang="zh-CN" altLang="en-US" sz="9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charset="0"/>
            </a:endParaRPr>
          </a:p>
        </p:txBody>
      </p:sp>
      <p:sp>
        <p:nvSpPr>
          <p:cNvPr id="97" name="矩形 96"/>
          <p:cNvSpPr/>
          <p:nvPr>
            <p:custDataLst>
              <p:tags r:id="rId9"/>
            </p:custDataLst>
          </p:nvPr>
        </p:nvSpPr>
        <p:spPr>
          <a:xfrm>
            <a:off x="911314" y="1919522"/>
            <a:ext cx="6691432" cy="1782005"/>
          </a:xfrm>
          <a:prstGeom prst="rect">
            <a:avLst/>
          </a:prstGeom>
          <a:noFill/>
          <a:ln w="12700" cap="flat" cmpd="sng" algn="ctr">
            <a:solidFill>
              <a:srgbClr val="DDDDDD">
                <a:lumMod val="75000"/>
              </a:srgbClr>
            </a:solidFill>
            <a:prstDash val="solid"/>
            <a:miter lim="800000"/>
          </a:ln>
          <a:effectLst/>
        </p:spPr>
        <p:txBody>
          <a:bodyPr vert="horz" wrap="square" lIns="107933" rtlCol="0" anchor="ctr" anchorCtr="0">
            <a:noAutofit/>
          </a:bodyPr>
          <a:lstStyle/>
          <a:p>
            <a:pPr marL="0" marR="0" lvl="0" indent="0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endParaRPr kumimoji="0" lang="en-US" altLang="zh-CN" sz="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charset="0"/>
              <a:sym typeface="微软雅黑" panose="020B0503020204020204" pitchFamily="34" charset="-122"/>
            </a:endParaRPr>
          </a:p>
        </p:txBody>
      </p:sp>
      <p:sp>
        <p:nvSpPr>
          <p:cNvPr id="98" name="矩形 97"/>
          <p:cNvSpPr/>
          <p:nvPr>
            <p:custDataLst>
              <p:tags r:id="rId10"/>
            </p:custDataLst>
          </p:nvPr>
        </p:nvSpPr>
        <p:spPr>
          <a:xfrm>
            <a:off x="3922652" y="1925967"/>
            <a:ext cx="995680" cy="213995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pPr algn="ctr" defTabSz="913765">
              <a:defRPr/>
            </a:pPr>
            <a:r>
              <a:rPr lang="zh-CN" altLang="en-US" sz="8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门前四包监管</a:t>
            </a:r>
            <a:r>
              <a:rPr lang="zh-CN" altLang="en-US" sz="800" b="1" dirty="0">
                <a:solidFill>
                  <a:srgbClr val="1D1D1A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助手</a:t>
            </a:r>
            <a:endParaRPr lang="zh-CN" altLang="en-US" sz="800" b="1" dirty="0">
              <a:solidFill>
                <a:srgbClr val="1D1D1A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22" name="矩形 121"/>
          <p:cNvSpPr/>
          <p:nvPr>
            <p:custDataLst>
              <p:tags r:id="rId11"/>
            </p:custDataLst>
          </p:nvPr>
        </p:nvSpPr>
        <p:spPr>
          <a:xfrm>
            <a:off x="1694014" y="4891332"/>
            <a:ext cx="2780026" cy="313265"/>
          </a:xfrm>
          <a:prstGeom prst="rect">
            <a:avLst/>
          </a:prstGeom>
          <a:solidFill>
            <a:srgbClr val="F2F2F2"/>
          </a:solidFill>
          <a:ln>
            <a:solidFill>
              <a:srgbClr val="C7C7C7"/>
            </a:solidFill>
          </a:ln>
        </p:spPr>
        <p:txBody>
          <a:bodyPr wrap="square" lIns="0" tIns="35978" rIns="0" bIns="35978" anchor="ctr" anchorCtr="0">
            <a:noAutofit/>
          </a:bodyPr>
          <a:lstStyle/>
          <a:p>
            <a:pPr algn="ctr" defTabSz="913130">
              <a:defRPr/>
            </a:pPr>
            <a:r>
              <a:rPr lang="en-US" altLang="zh-CN" sz="8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rPr>
              <a:t>AI</a:t>
            </a:r>
            <a:r>
              <a:rPr lang="zh-CN" altLang="en-US" sz="8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rPr>
              <a:t>训练平台</a:t>
            </a:r>
            <a:endParaRPr lang="zh-CN" altLang="en-US" sz="8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charset="0"/>
            </a:endParaRPr>
          </a:p>
        </p:txBody>
      </p:sp>
      <p:sp>
        <p:nvSpPr>
          <p:cNvPr id="123" name="矩形 122"/>
          <p:cNvSpPr/>
          <p:nvPr>
            <p:custDataLst>
              <p:tags r:id="rId12"/>
            </p:custDataLst>
          </p:nvPr>
        </p:nvSpPr>
        <p:spPr>
          <a:xfrm>
            <a:off x="4739582" y="4891332"/>
            <a:ext cx="2780026" cy="313265"/>
          </a:xfrm>
          <a:prstGeom prst="rect">
            <a:avLst/>
          </a:prstGeom>
          <a:solidFill>
            <a:srgbClr val="F2F2F2"/>
          </a:solidFill>
          <a:ln>
            <a:solidFill>
              <a:srgbClr val="C7C7C7"/>
            </a:solidFill>
          </a:ln>
        </p:spPr>
        <p:txBody>
          <a:bodyPr wrap="square" lIns="0" tIns="35978" rIns="0" bIns="35978" anchor="ctr" anchorCtr="0">
            <a:noAutofit/>
          </a:bodyPr>
          <a:lstStyle/>
          <a:p>
            <a:pPr algn="ctr" defTabSz="913130">
              <a:defRPr/>
            </a:pPr>
            <a:r>
              <a:rPr lang="en-US" altLang="zh-CN" sz="8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rPr>
              <a:t>AI</a:t>
            </a:r>
            <a:r>
              <a:rPr lang="zh-CN" altLang="en-US" sz="800" kern="0" dirty="0">
                <a:solidFill>
                  <a:prstClr val="black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rPr>
              <a:t>推理平台</a:t>
            </a:r>
            <a:endParaRPr lang="zh-CN" altLang="en-US" sz="800" kern="0" dirty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Calibri" panose="020F0502020204030204" charset="0"/>
            </a:endParaRPr>
          </a:p>
        </p:txBody>
      </p:sp>
      <p:grpSp>
        <p:nvGrpSpPr>
          <p:cNvPr id="124" name="组合 123"/>
          <p:cNvGrpSpPr/>
          <p:nvPr/>
        </p:nvGrpSpPr>
        <p:grpSpPr>
          <a:xfrm>
            <a:off x="1702777" y="4380593"/>
            <a:ext cx="5816831" cy="323451"/>
            <a:chOff x="-411889" y="4529928"/>
            <a:chExt cx="3002126" cy="185853"/>
          </a:xfrm>
        </p:grpSpPr>
        <p:sp>
          <p:nvSpPr>
            <p:cNvPr id="125" name="智能终端"/>
            <p:cNvSpPr txBox="1"/>
            <p:nvPr>
              <p:custDataLst>
                <p:tags r:id="rId13"/>
              </p:custDataLst>
            </p:nvPr>
          </p:nvSpPr>
          <p:spPr>
            <a:xfrm>
              <a:off x="-411889" y="4531200"/>
              <a:ext cx="936000" cy="180000"/>
            </a:xfrm>
            <a:prstGeom prst="roundRect">
              <a:avLst>
                <a:gd name="adj" fmla="val 0"/>
              </a:avLst>
            </a:prstGeom>
            <a:solidFill>
              <a:srgbClr val="F2F2F2"/>
            </a:solidFill>
            <a:ln>
              <a:solidFill>
                <a:srgbClr val="C7C7C7"/>
              </a:solidFill>
            </a:ln>
          </p:spPr>
          <p:txBody>
            <a:bodyPr wrap="square" lIns="0" tIns="35978" rIns="0" bIns="35978" anchor="ctr" anchorCtr="0">
              <a:noAutofit/>
            </a:bodyPr>
            <a:lstStyle>
              <a:defPPr>
                <a:defRPr lang="zh-CN"/>
              </a:defPPr>
              <a:lvl1pPr algn="ctr" defTabSz="913130">
                <a:defRPr sz="800" kern="0">
                  <a:solidFill>
                    <a:prstClr val="black"/>
                  </a:solidFill>
                  <a:latin typeface="微软雅黑" panose="020B0503020204020204" pitchFamily="34" charset="-122"/>
                  <a:cs typeface="Calibri" panose="020F050202020403020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dirty="0">
                  <a:ea typeface="微软雅黑" panose="020B0503020204020204" pitchFamily="34" charset="-122"/>
                  <a:sym typeface="Arial" panose="020B0604020202020204" pitchFamily="34" charset="0"/>
                </a:rPr>
                <a:t>数据开发套件</a:t>
              </a:r>
              <a:endParaRPr lang="zh-CN" altLang="en-US" dirty="0"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1" name="智能终端"/>
            <p:cNvSpPr txBox="1"/>
            <p:nvPr>
              <p:custDataLst>
                <p:tags r:id="rId14"/>
              </p:custDataLst>
            </p:nvPr>
          </p:nvSpPr>
          <p:spPr>
            <a:xfrm>
              <a:off x="621174" y="4535781"/>
              <a:ext cx="936000" cy="180000"/>
            </a:xfrm>
            <a:prstGeom prst="roundRect">
              <a:avLst>
                <a:gd name="adj" fmla="val 0"/>
              </a:avLst>
            </a:prstGeom>
            <a:solidFill>
              <a:srgbClr val="F2F2F2"/>
            </a:solidFill>
            <a:ln>
              <a:solidFill>
                <a:srgbClr val="C7C7C7"/>
              </a:solidFill>
            </a:ln>
          </p:spPr>
          <p:txBody>
            <a:bodyPr wrap="square" lIns="0" tIns="35978" rIns="0" bIns="35978" anchor="ctr" anchorCtr="0">
              <a:noAutofit/>
            </a:bodyPr>
            <a:lstStyle>
              <a:defPPr>
                <a:defRPr lang="zh-CN"/>
              </a:defPPr>
              <a:lvl1pPr algn="ctr" defTabSz="913130">
                <a:defRPr sz="800" kern="0">
                  <a:solidFill>
                    <a:prstClr val="black"/>
                  </a:solidFill>
                  <a:latin typeface="微软雅黑" panose="020B0503020204020204" pitchFamily="34" charset="-122"/>
                  <a:cs typeface="Calibri" panose="020F050202020403020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dirty="0">
                  <a:ea typeface="微软雅黑" panose="020B0503020204020204" pitchFamily="34" charset="-122"/>
                  <a:sym typeface="Arial" panose="020B0604020202020204" pitchFamily="34" charset="0"/>
                </a:rPr>
                <a:t>模型开发套件</a:t>
              </a:r>
              <a:endParaRPr lang="zh-CN" altLang="en-US" dirty="0"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  <p:sp>
          <p:nvSpPr>
            <p:cNvPr id="12" name="智能终端"/>
            <p:cNvSpPr txBox="1"/>
            <p:nvPr>
              <p:custDataLst>
                <p:tags r:id="rId15"/>
              </p:custDataLst>
            </p:nvPr>
          </p:nvSpPr>
          <p:spPr>
            <a:xfrm>
              <a:off x="1654237" y="4529928"/>
              <a:ext cx="936000" cy="180000"/>
            </a:xfrm>
            <a:prstGeom prst="roundRect">
              <a:avLst>
                <a:gd name="adj" fmla="val 0"/>
              </a:avLst>
            </a:prstGeom>
            <a:solidFill>
              <a:srgbClr val="F2F2F2"/>
            </a:solidFill>
            <a:ln>
              <a:solidFill>
                <a:srgbClr val="C7C7C7"/>
              </a:solidFill>
            </a:ln>
          </p:spPr>
          <p:txBody>
            <a:bodyPr wrap="square" lIns="0" tIns="35978" rIns="0" bIns="35978" anchor="ctr" anchorCtr="0">
              <a:noAutofit/>
            </a:bodyPr>
            <a:lstStyle>
              <a:defPPr>
                <a:defRPr lang="zh-CN"/>
              </a:defPPr>
              <a:lvl1pPr algn="ctr" defTabSz="913130">
                <a:defRPr sz="800" kern="0">
                  <a:solidFill>
                    <a:prstClr val="black"/>
                  </a:solidFill>
                  <a:latin typeface="微软雅黑" panose="020B0503020204020204" pitchFamily="34" charset="-122"/>
                  <a:cs typeface="Calibri" panose="020F0502020204030204" charset="0"/>
                </a:defRPr>
              </a:lvl1pPr>
              <a:lvl2pPr>
                <a:defRPr>
                  <a:solidFill>
                    <a:schemeClr val="tx1"/>
                  </a:solidFill>
                </a:defRPr>
              </a:lvl2pPr>
              <a:lvl3pPr>
                <a:defRPr>
                  <a:solidFill>
                    <a:schemeClr val="tx1"/>
                  </a:solidFill>
                </a:defRPr>
              </a:lvl3pPr>
              <a:lvl4pPr>
                <a:defRPr>
                  <a:solidFill>
                    <a:schemeClr val="tx1"/>
                  </a:solidFill>
                </a:defRPr>
              </a:lvl4pPr>
              <a:lvl5pPr>
                <a:defRPr>
                  <a:solidFill>
                    <a:schemeClr val="tx1"/>
                  </a:solidFill>
                </a:defRPr>
              </a:lvl5pPr>
              <a:lvl6pPr>
                <a:defRPr>
                  <a:solidFill>
                    <a:schemeClr val="tx1"/>
                  </a:solidFill>
                </a:defRPr>
              </a:lvl6pPr>
              <a:lvl7pPr>
                <a:defRPr>
                  <a:solidFill>
                    <a:schemeClr val="tx1"/>
                  </a:solidFill>
                </a:defRPr>
              </a:lvl7pPr>
              <a:lvl8pPr>
                <a:defRPr>
                  <a:solidFill>
                    <a:schemeClr val="tx1"/>
                  </a:solidFill>
                </a:defRPr>
              </a:lvl8pPr>
              <a:lvl9pPr>
                <a:defRPr>
                  <a:solidFill>
                    <a:schemeClr val="tx1"/>
                  </a:solidFill>
                </a:defRPr>
              </a:lvl9pPr>
            </a:lstStyle>
            <a:p>
              <a:r>
                <a:rPr lang="zh-CN" altLang="en-US" dirty="0">
                  <a:ea typeface="微软雅黑" panose="020B0503020204020204" pitchFamily="34" charset="-122"/>
                  <a:sym typeface="Arial" panose="020B0604020202020204" pitchFamily="34" charset="0"/>
                </a:rPr>
                <a:t>应用开发套件</a:t>
              </a:r>
              <a:endParaRPr lang="zh-CN" altLang="en-US" dirty="0">
                <a:ea typeface="微软雅黑" panose="020B0503020204020204" pitchFamily="34" charset="-122"/>
                <a:sym typeface="Arial" panose="020B0604020202020204" pitchFamily="34" charset="0"/>
              </a:endParaRPr>
            </a:p>
          </p:txBody>
        </p:sp>
      </p:grpSp>
      <p:pic>
        <p:nvPicPr>
          <p:cNvPr id="13" name="图片 12"/>
          <p:cNvPicPr>
            <a:picLocks noChangeAspect="1"/>
          </p:cNvPicPr>
          <p:nvPr>
            <p:custDataLst>
              <p:tags r:id="rId16"/>
            </p:custDataLst>
          </p:nvPr>
        </p:nvPicPr>
        <p:blipFill rotWithShape="1">
          <a:blip r:embed="rId17" cstate="screen"/>
          <a:srcRect/>
          <a:stretch>
            <a:fillRect/>
          </a:stretch>
        </p:blipFill>
        <p:spPr>
          <a:xfrm>
            <a:off x="1761138" y="5824936"/>
            <a:ext cx="834265" cy="409955"/>
          </a:xfrm>
          <a:prstGeom prst="roundRect">
            <a:avLst>
              <a:gd name="adj" fmla="val 2437"/>
            </a:avLst>
          </a:prstGeom>
        </p:spPr>
      </p:pic>
      <p:sp>
        <p:nvSpPr>
          <p:cNvPr id="14" name="文本框 13"/>
          <p:cNvSpPr txBox="1"/>
          <p:nvPr>
            <p:custDataLst>
              <p:tags r:id="rId18"/>
            </p:custDataLst>
          </p:nvPr>
        </p:nvSpPr>
        <p:spPr>
          <a:xfrm>
            <a:off x="2433053" y="5811100"/>
            <a:ext cx="1400113" cy="48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 defTabSz="913130">
              <a:defRPr b="1" kern="0">
                <a:solidFill>
                  <a:srgbClr val="C00000"/>
                </a:solidFill>
                <a:latin typeface="微软雅黑" panose="020B0503020204020204" pitchFamily="34" charset="-122"/>
              </a:defRPr>
            </a:lvl1pPr>
          </a:lstStyle>
          <a:p>
            <a:pPr>
              <a:defRPr/>
            </a:pPr>
            <a:r>
              <a:rPr lang="zh-CN" altLang="en-US" sz="1050" b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鲲鹏</a:t>
            </a:r>
            <a:endParaRPr lang="en-US" altLang="zh-CN" sz="1050" b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zh-CN" altLang="en-US" sz="1050" b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处理器</a:t>
            </a:r>
            <a:endParaRPr lang="zh-CN" altLang="en-US" sz="1050" b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pic>
        <p:nvPicPr>
          <p:cNvPr id="130" name="图片 129"/>
          <p:cNvPicPr>
            <a:picLocks noChangeAspect="1"/>
          </p:cNvPicPr>
          <p:nvPr>
            <p:custDataLst>
              <p:tags r:id="rId19"/>
            </p:custDataLst>
          </p:nvPr>
        </p:nvPicPr>
        <p:blipFill rotWithShape="1">
          <a:blip r:embed="rId20" cstate="screen"/>
          <a:srcRect/>
          <a:stretch>
            <a:fillRect/>
          </a:stretch>
        </p:blipFill>
        <p:spPr>
          <a:xfrm>
            <a:off x="4690720" y="5795068"/>
            <a:ext cx="923246" cy="470640"/>
          </a:xfrm>
          <a:prstGeom prst="rect">
            <a:avLst/>
          </a:prstGeom>
        </p:spPr>
      </p:pic>
      <p:sp>
        <p:nvSpPr>
          <p:cNvPr id="15" name="文本框 14"/>
          <p:cNvSpPr txBox="1"/>
          <p:nvPr>
            <p:custDataLst>
              <p:tags r:id="rId21"/>
            </p:custDataLst>
          </p:nvPr>
        </p:nvSpPr>
        <p:spPr>
          <a:xfrm>
            <a:off x="5366432" y="5808695"/>
            <a:ext cx="1619387" cy="482399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>
            <a:defPPr>
              <a:defRPr lang="zh-CN"/>
            </a:defPPr>
            <a:lvl1pPr algn="ctr" defTabSz="913130">
              <a:defRPr b="1" kern="0">
                <a:solidFill>
                  <a:srgbClr val="C00000"/>
                </a:solidFill>
                <a:latin typeface="微软雅黑" panose="020B0503020204020204" pitchFamily="34" charset="-122"/>
              </a:defRPr>
            </a:lvl1pPr>
          </a:lstStyle>
          <a:p>
            <a:pPr>
              <a:defRPr/>
            </a:pPr>
            <a:r>
              <a:rPr lang="zh-CN" altLang="en-US" sz="1050" b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昇腾</a:t>
            </a:r>
            <a:endParaRPr lang="en-US" altLang="zh-CN" sz="1050" b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  <a:p>
            <a:pPr>
              <a:defRPr/>
            </a:pPr>
            <a:r>
              <a:rPr lang="zh-CN" altLang="en-US" sz="1050" b="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处理器</a:t>
            </a:r>
            <a:endParaRPr lang="zh-CN" altLang="en-US" sz="1050" b="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6" name="文本框 15"/>
          <p:cNvSpPr txBox="1"/>
          <p:nvPr>
            <p:custDataLst>
              <p:tags r:id="rId22"/>
            </p:custDataLst>
          </p:nvPr>
        </p:nvSpPr>
        <p:spPr>
          <a:xfrm>
            <a:off x="905620" y="5767577"/>
            <a:ext cx="6667795" cy="575533"/>
          </a:xfrm>
          <a:prstGeom prst="rect">
            <a:avLst/>
          </a:prstGeom>
          <a:noFill/>
          <a:ln w="12700" cap="flat" cmpd="sng" algn="ctr">
            <a:solidFill>
              <a:srgbClr val="1D1D1A">
                <a:lumMod val="50000"/>
                <a:lumOff val="50000"/>
              </a:srgbClr>
            </a:solidFill>
            <a:prstDash val="solid"/>
            <a:miter lim="800000"/>
          </a:ln>
          <a:effectLst/>
        </p:spPr>
        <p:txBody>
          <a:bodyPr vert="horz" wrap="square" lIns="35978" rtlCol="0" anchor="ctr" anchorCtr="0">
            <a:noAutofit/>
          </a:bodyPr>
          <a:lstStyle>
            <a:defPPr>
              <a:defRPr lang="zh-CN"/>
            </a:defPPr>
            <a:lvl1pPr defTabSz="913765">
              <a:defRPr sz="1100" b="1" kern="0">
                <a:latin typeface="微软雅黑" panose="020B0503020204020204" pitchFamily="34" charset="-122"/>
                <a:ea typeface="微软雅黑" panose="020B0503020204020204" pitchFamily="34" charset="-122"/>
                <a:cs typeface="Calibri" panose="020F0502020204030204" charset="0"/>
              </a:defRPr>
            </a:lvl1pPr>
          </a:lstStyle>
          <a:p>
            <a:pPr marL="0" marR="0" lvl="0" indent="0" defTabSz="91376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altLang="en-US" sz="800" dirty="0">
                <a:solidFill>
                  <a:prstClr val="black"/>
                </a:solidFill>
              </a:rPr>
              <a:t>算力</a:t>
            </a:r>
            <a:endParaRPr kumimoji="0" lang="zh-CN" altLang="en-US" sz="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18" name="智能终端"/>
          <p:cNvSpPr txBox="1"/>
          <p:nvPr>
            <p:custDataLst>
              <p:tags r:id="rId23"/>
            </p:custDataLst>
          </p:nvPr>
        </p:nvSpPr>
        <p:spPr>
          <a:xfrm>
            <a:off x="3269685" y="1324810"/>
            <a:ext cx="1979930" cy="542725"/>
          </a:xfrm>
          <a:prstGeom prst="rect">
            <a:avLst/>
          </a:prstGeom>
          <a:noFill/>
          <a:ln w="3175" cap="flat">
            <a:solidFill>
              <a:srgbClr val="6F6F6F"/>
            </a:solidFill>
            <a:miter lim="400000"/>
          </a:ln>
          <a:effectLst/>
        </p:spPr>
        <p:txBody>
          <a:bodyPr wrap="square" lIns="45637" tIns="45637" rIns="45637" bIns="45637" numCol="1" anchor="ctr">
            <a:noAutofit/>
          </a:bodyPr>
          <a:lstStyle>
            <a:defPPr>
              <a:defRPr lang="en-US"/>
            </a:defPPr>
            <a:lvl1pPr algn="ctr" defTabSz="913765" hangingPunct="0">
              <a:defRPr sz="1200" b="1" kern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1pPr>
          </a:lstStyle>
          <a:p>
            <a:pPr defTabSz="913130">
              <a:defRPr/>
            </a:pPr>
            <a:r>
              <a:rPr sz="900" dirty="0">
                <a:solidFill>
                  <a:schemeClr val="tx1">
                    <a:lumMod val="75000"/>
                    <a:lumOff val="25000"/>
                  </a:schemeClr>
                </a:solidFill>
                <a:sym typeface="+mn-lt"/>
              </a:rPr>
              <a:t>中屏-业务管理</a:t>
            </a:r>
            <a:endParaRPr sz="900" dirty="0">
              <a:solidFill>
                <a:schemeClr val="tx1">
                  <a:lumMod val="75000"/>
                  <a:lumOff val="25000"/>
                </a:schemeClr>
              </a:solidFill>
              <a:sym typeface="+mn-lt"/>
            </a:endParaRPr>
          </a:p>
        </p:txBody>
      </p:sp>
      <p:sp>
        <p:nvSpPr>
          <p:cNvPr id="19" name="智能终端"/>
          <p:cNvSpPr txBox="1"/>
          <p:nvPr>
            <p:custDataLst>
              <p:tags r:id="rId24"/>
            </p:custDataLst>
          </p:nvPr>
        </p:nvSpPr>
        <p:spPr>
          <a:xfrm>
            <a:off x="5629980" y="1324810"/>
            <a:ext cx="1979930" cy="542725"/>
          </a:xfrm>
          <a:prstGeom prst="rect">
            <a:avLst/>
          </a:prstGeom>
          <a:noFill/>
          <a:ln w="3175" cap="flat">
            <a:solidFill>
              <a:srgbClr val="6F6F6F"/>
            </a:solidFill>
            <a:miter lim="400000"/>
          </a:ln>
          <a:effectLst/>
        </p:spPr>
        <p:txBody>
          <a:bodyPr wrap="square" lIns="45637" tIns="45637" rIns="45637" bIns="45637" numCol="1" anchor="ctr">
            <a:noAutofit/>
          </a:bodyPr>
          <a:lstStyle>
            <a:defPPr>
              <a:defRPr lang="en-US"/>
            </a:defPPr>
            <a:lvl1pPr algn="ctr" defTabSz="913765" hangingPunct="0">
              <a:defRPr sz="1200" b="1" kern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1pPr>
          </a:lstStyle>
          <a:p>
            <a:pPr defTabSz="913130">
              <a:defRPr/>
            </a:pP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sym typeface="+mn-lt"/>
              </a:rPr>
              <a:t>小屏-事件处置</a:t>
            </a:r>
            <a:endParaRPr lang="zh-CN" altLang="en-US" sz="900" dirty="0">
              <a:solidFill>
                <a:schemeClr val="tx1">
                  <a:lumMod val="75000"/>
                  <a:lumOff val="25000"/>
                </a:schemeClr>
              </a:solidFill>
              <a:sym typeface="+mn-lt"/>
            </a:endParaRPr>
          </a:p>
        </p:txBody>
      </p:sp>
      <p:sp>
        <p:nvSpPr>
          <p:cNvPr id="142" name="智能终端"/>
          <p:cNvSpPr txBox="1"/>
          <p:nvPr>
            <p:custDataLst>
              <p:tags r:id="rId25"/>
            </p:custDataLst>
          </p:nvPr>
        </p:nvSpPr>
        <p:spPr>
          <a:xfrm>
            <a:off x="909320" y="1324610"/>
            <a:ext cx="1980000" cy="542925"/>
          </a:xfrm>
          <a:prstGeom prst="rect">
            <a:avLst/>
          </a:prstGeom>
          <a:noFill/>
          <a:ln w="3175" cap="flat">
            <a:solidFill>
              <a:srgbClr val="6F6F6F"/>
            </a:solidFill>
            <a:miter lim="400000"/>
          </a:ln>
          <a:effectLst/>
        </p:spPr>
        <p:txBody>
          <a:bodyPr wrap="square" lIns="45637" tIns="45637" rIns="45637" bIns="45637" numCol="1" anchor="ctr">
            <a:noAutofit/>
          </a:bodyPr>
          <a:lstStyle>
            <a:defPPr>
              <a:defRPr lang="en-US"/>
            </a:defPPr>
            <a:lvl1pPr algn="ctr" defTabSz="913765" hangingPunct="0">
              <a:defRPr sz="1200" b="1" kern="0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</a:defRPr>
            </a:lvl1pPr>
          </a:lstStyle>
          <a:p>
            <a:pPr defTabSz="913130">
              <a:defRPr/>
            </a:pPr>
            <a:r>
              <a:rPr lang="zh-CN" altLang="en-US" sz="900" dirty="0">
                <a:solidFill>
                  <a:schemeClr val="tx1">
                    <a:lumMod val="75000"/>
                    <a:lumOff val="25000"/>
                  </a:schemeClr>
                </a:solidFill>
                <a:sym typeface="+mn-lt"/>
              </a:rPr>
              <a:t>大屏-领导驾驶舱</a:t>
            </a:r>
            <a:endParaRPr lang="zh-CN" altLang="en-US" sz="900" dirty="0">
              <a:solidFill>
                <a:schemeClr val="tx1">
                  <a:lumMod val="75000"/>
                  <a:lumOff val="25000"/>
                </a:schemeClr>
              </a:solidFill>
              <a:sym typeface="+mn-lt"/>
            </a:endParaRPr>
          </a:p>
        </p:txBody>
      </p:sp>
      <p:sp>
        <p:nvSpPr>
          <p:cNvPr id="24" name="矩形 23"/>
          <p:cNvSpPr/>
          <p:nvPr>
            <p:custDataLst>
              <p:tags r:id="rId26"/>
            </p:custDataLst>
          </p:nvPr>
        </p:nvSpPr>
        <p:spPr>
          <a:xfrm>
            <a:off x="1165860" y="2106930"/>
            <a:ext cx="2035810" cy="1458595"/>
          </a:xfrm>
          <a:prstGeom prst="rect">
            <a:avLst/>
          </a:prstGeom>
          <a:noFill/>
          <a:ln w="6350" cap="flat" cmpd="sng" algn="ctr">
            <a:solidFill>
              <a:srgbClr val="6F6F6F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/>
          <a:p>
            <a:pPr algn="ctr" defTabSz="913130">
              <a:defRPr/>
            </a:pPr>
            <a:endParaRPr lang="zh-CN" altLang="en-US" sz="1000" ker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5" name="智能终端"/>
          <p:cNvSpPr txBox="1"/>
          <p:nvPr>
            <p:custDataLst>
              <p:tags r:id="rId27"/>
            </p:custDataLst>
          </p:nvPr>
        </p:nvSpPr>
        <p:spPr>
          <a:xfrm>
            <a:off x="1686560" y="2156460"/>
            <a:ext cx="992505" cy="341630"/>
          </a:xfrm>
          <a:prstGeom prst="roundRect">
            <a:avLst>
              <a:gd name="adj" fmla="val 0"/>
            </a:avLst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>
            <a:defPPr>
              <a:defRPr lang="zh-CN"/>
            </a:defPPr>
            <a:lvl1pPr marR="0" lvl="0" indent="0" algn="ctr" defTabSz="48006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26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Huawei San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4794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门前</a:t>
            </a:r>
            <a:r>
              <a:rPr kumimoji="0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四包事件</a:t>
            </a:r>
            <a:r>
              <a:rPr kumimoji="0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检测</a:t>
            </a:r>
            <a:endParaRPr kumimoji="0" lang="zh-CN" altLang="en-US" sz="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26" name="文本框 25"/>
          <p:cNvSpPr txBox="1"/>
          <p:nvPr>
            <p:custDataLst>
              <p:tags r:id="rId28"/>
            </p:custDataLst>
          </p:nvPr>
        </p:nvSpPr>
        <p:spPr>
          <a:xfrm>
            <a:off x="1297940" y="2631440"/>
            <a:ext cx="770890" cy="229235"/>
          </a:xfrm>
          <a:prstGeom prst="rect">
            <a:avLst/>
          </a:prstGeom>
          <a:solidFill>
            <a:srgbClr val="D4F1F5"/>
          </a:solidFill>
          <a:ln w="6350" cap="flat" cmpd="sng" algn="ctr">
            <a:solidFill>
              <a:srgbClr val="C7C7C7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>
            <a:defPPr>
              <a:defRPr lang="en-US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0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ctr" defTabSz="9131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Arial" panose="020B0604020202020204" pitchFamily="34" charset="0"/>
              </a:rPr>
              <a:t>垃圾暴露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27" name="文本框 26"/>
          <p:cNvSpPr txBox="1"/>
          <p:nvPr>
            <p:custDataLst>
              <p:tags r:id="rId29"/>
            </p:custDataLst>
          </p:nvPr>
        </p:nvSpPr>
        <p:spPr>
          <a:xfrm>
            <a:off x="1297940" y="2901315"/>
            <a:ext cx="771525" cy="257175"/>
          </a:xfrm>
          <a:prstGeom prst="rect">
            <a:avLst/>
          </a:prstGeom>
          <a:solidFill>
            <a:srgbClr val="D4F1F5"/>
          </a:solidFill>
          <a:ln w="6350" cap="flat" cmpd="sng" algn="ctr">
            <a:solidFill>
              <a:srgbClr val="C7C7C7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>
            <a:defPPr>
              <a:defRPr lang="en-US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0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ctr" defTabSz="9131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Arial" panose="020B0604020202020204" pitchFamily="34" charset="0"/>
              </a:rPr>
              <a:t>店外经营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28" name="文本框 27"/>
          <p:cNvSpPr txBox="1"/>
          <p:nvPr>
            <p:custDataLst>
              <p:tags r:id="rId30"/>
            </p:custDataLst>
          </p:nvPr>
        </p:nvSpPr>
        <p:spPr>
          <a:xfrm>
            <a:off x="1303655" y="3247390"/>
            <a:ext cx="765810" cy="259715"/>
          </a:xfrm>
          <a:prstGeom prst="rect">
            <a:avLst/>
          </a:prstGeom>
          <a:solidFill>
            <a:srgbClr val="D4F1F5"/>
          </a:solidFill>
          <a:ln w="6350" cap="flat" cmpd="sng" algn="ctr">
            <a:solidFill>
              <a:srgbClr val="C7C7C7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>
            <a:defPPr>
              <a:defRPr lang="en-US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0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ctr" defTabSz="9131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Arial" panose="020B0604020202020204" pitchFamily="34" charset="0"/>
              </a:rPr>
              <a:t>游商摊贩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29" name="矩形 28"/>
          <p:cNvSpPr/>
          <p:nvPr>
            <p:custDataLst>
              <p:tags r:id="rId31"/>
            </p:custDataLst>
          </p:nvPr>
        </p:nvSpPr>
        <p:spPr>
          <a:xfrm>
            <a:off x="3477377" y="2106916"/>
            <a:ext cx="1586577" cy="1458721"/>
          </a:xfrm>
          <a:prstGeom prst="rect">
            <a:avLst/>
          </a:prstGeom>
          <a:noFill/>
          <a:ln w="6350" cap="flat" cmpd="sng" algn="ctr">
            <a:solidFill>
              <a:srgbClr val="6F6F6F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/>
          <a:p>
            <a:pPr algn="ctr" defTabSz="913130">
              <a:defRPr/>
            </a:pPr>
            <a:endParaRPr lang="zh-CN" altLang="en-US" sz="1000" ker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0" name="智能终端"/>
          <p:cNvSpPr txBox="1"/>
          <p:nvPr>
            <p:custDataLst>
              <p:tags r:id="rId32"/>
            </p:custDataLst>
          </p:nvPr>
        </p:nvSpPr>
        <p:spPr>
          <a:xfrm>
            <a:off x="3516411" y="2141067"/>
            <a:ext cx="1641593" cy="295696"/>
          </a:xfrm>
          <a:prstGeom prst="roundRect">
            <a:avLst>
              <a:gd name="adj" fmla="val 0"/>
            </a:avLst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>
            <a:defPPr>
              <a:defRPr lang="zh-CN"/>
            </a:defPPr>
            <a:lvl1pPr marR="0" lvl="0" indent="0" algn="ctr" defTabSz="48006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26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Huawei San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4794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大模型赋能</a:t>
            </a:r>
            <a:endParaRPr kumimoji="0" lang="zh-CN" altLang="en-US" sz="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1" name="文本框 30"/>
          <p:cNvSpPr txBox="1"/>
          <p:nvPr>
            <p:custDataLst>
              <p:tags r:id="rId33"/>
            </p:custDataLst>
          </p:nvPr>
        </p:nvSpPr>
        <p:spPr>
          <a:xfrm>
            <a:off x="3609340" y="2631440"/>
            <a:ext cx="658495" cy="229235"/>
          </a:xfrm>
          <a:prstGeom prst="rect">
            <a:avLst/>
          </a:prstGeom>
          <a:solidFill>
            <a:srgbClr val="D4F1F5"/>
          </a:solidFill>
          <a:ln w="6350" cap="flat" cmpd="sng" algn="ctr">
            <a:solidFill>
              <a:srgbClr val="C7C7C7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>
            <a:defPPr>
              <a:defRPr lang="en-US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0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ctr" defTabSz="9131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Arial" panose="020B0604020202020204" pitchFamily="34" charset="0"/>
              </a:rPr>
              <a:t>事件智能审核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32" name="文本框 31"/>
          <p:cNvSpPr txBox="1"/>
          <p:nvPr>
            <p:custDataLst>
              <p:tags r:id="rId34"/>
            </p:custDataLst>
          </p:nvPr>
        </p:nvSpPr>
        <p:spPr>
          <a:xfrm>
            <a:off x="3609340" y="2901315"/>
            <a:ext cx="658495" cy="281940"/>
          </a:xfrm>
          <a:prstGeom prst="rect">
            <a:avLst/>
          </a:prstGeom>
          <a:solidFill>
            <a:srgbClr val="D4F1F5"/>
          </a:solidFill>
          <a:ln w="6350" cap="flat" cmpd="sng" algn="ctr">
            <a:solidFill>
              <a:srgbClr val="C7C7C7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>
            <a:defPPr>
              <a:defRPr lang="en-US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0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ctr" defTabSz="9131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Arial" panose="020B0604020202020204" pitchFamily="34" charset="0"/>
              </a:rPr>
              <a:t>报告生成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33" name="文本框 32"/>
          <p:cNvSpPr txBox="1"/>
          <p:nvPr>
            <p:custDataLst>
              <p:tags r:id="rId35"/>
            </p:custDataLst>
          </p:nvPr>
        </p:nvSpPr>
        <p:spPr>
          <a:xfrm>
            <a:off x="3615340" y="3247581"/>
            <a:ext cx="1376466" cy="259554"/>
          </a:xfrm>
          <a:prstGeom prst="rect">
            <a:avLst/>
          </a:prstGeom>
          <a:solidFill>
            <a:srgbClr val="D4F1F5"/>
          </a:solidFill>
          <a:ln w="6350" cap="flat" cmpd="sng" algn="ctr">
            <a:solidFill>
              <a:srgbClr val="C7C7C7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>
            <a:defPPr>
              <a:defRPr lang="en-US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0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ctr" defTabSz="9131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Arial" panose="020B0604020202020204" pitchFamily="34" charset="0"/>
              </a:rPr>
              <a:t>业务咨询</a:t>
            </a:r>
            <a:endParaRPr kumimoji="0" lang="zh-CN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34" name="矩形 33"/>
          <p:cNvSpPr/>
          <p:nvPr>
            <p:custDataLst>
              <p:tags r:id="rId36"/>
            </p:custDataLst>
          </p:nvPr>
        </p:nvSpPr>
        <p:spPr>
          <a:xfrm>
            <a:off x="5614152" y="2106916"/>
            <a:ext cx="1586577" cy="1458721"/>
          </a:xfrm>
          <a:prstGeom prst="rect">
            <a:avLst/>
          </a:prstGeom>
          <a:noFill/>
          <a:ln w="6350" cap="flat" cmpd="sng" algn="ctr">
            <a:solidFill>
              <a:srgbClr val="6F6F6F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/>
          <a:p>
            <a:pPr algn="ctr" defTabSz="913130">
              <a:defRPr/>
            </a:pPr>
            <a:endParaRPr lang="zh-CN" altLang="en-US" sz="1000" kern="0">
              <a:solidFill>
                <a:prstClr val="black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5" name="智能终端"/>
          <p:cNvSpPr txBox="1"/>
          <p:nvPr>
            <p:custDataLst>
              <p:tags r:id="rId37"/>
            </p:custDataLst>
          </p:nvPr>
        </p:nvSpPr>
        <p:spPr>
          <a:xfrm>
            <a:off x="5706110" y="2141220"/>
            <a:ext cx="1453515" cy="295910"/>
          </a:xfrm>
          <a:prstGeom prst="roundRect">
            <a:avLst>
              <a:gd name="adj" fmla="val 0"/>
            </a:avLst>
          </a:prstGeom>
          <a:noFill/>
          <a:ln w="6350" cap="flat" cmpd="sng" algn="ctr">
            <a:noFill/>
            <a:prstDash val="solid"/>
            <a:miter lim="800000"/>
          </a:ln>
          <a:effectLst/>
        </p:spPr>
        <p:txBody>
          <a:bodyPr lIns="0" tIns="0" rIns="0" bIns="0" rtlCol="0" anchor="ctr"/>
          <a:lstStyle>
            <a:defPPr>
              <a:defRPr lang="zh-CN"/>
            </a:defPPr>
            <a:lvl1pPr marR="0" lvl="0" indent="0" algn="ctr" defTabSz="480060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260" b="1" i="0" u="none" strike="noStrike" kern="0" cap="none" spc="0" normalizeH="0" baseline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cs typeface="Huawei Sans"/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  <a:lvl6pPr>
              <a:defRPr>
                <a:solidFill>
                  <a:schemeClr val="tx1"/>
                </a:solidFill>
              </a:defRPr>
            </a:lvl6pPr>
            <a:lvl7pPr>
              <a:defRPr>
                <a:solidFill>
                  <a:schemeClr val="tx1"/>
                </a:solidFill>
              </a:defRPr>
            </a:lvl7pPr>
            <a:lvl8pPr>
              <a:defRPr>
                <a:solidFill>
                  <a:schemeClr val="tx1"/>
                </a:solidFill>
              </a:defRPr>
            </a:lvl8pPr>
            <a:lvl9pPr>
              <a:defRPr>
                <a:solidFill>
                  <a:schemeClr val="tx1"/>
                </a:solidFill>
              </a:defRPr>
            </a:lvl9pPr>
          </a:lstStyle>
          <a:p>
            <a:pPr marL="0" marR="0" lvl="0" indent="0" algn="ctr" defTabSz="479425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事件处置</a:t>
            </a:r>
            <a:r>
              <a:rPr kumimoji="0" lang="zh-CN" altLang="en-US" sz="800" b="1" i="0" u="none" strike="noStrike" kern="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sym typeface="Arial" panose="020B0604020202020204" pitchFamily="34" charset="0"/>
              </a:rPr>
              <a:t>分析</a:t>
            </a:r>
            <a:endParaRPr kumimoji="0" lang="zh-CN" altLang="en-US" sz="800" b="1" i="0" u="none" strike="noStrike" kern="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6" name="文本框 35"/>
          <p:cNvSpPr txBox="1"/>
          <p:nvPr>
            <p:custDataLst>
              <p:tags r:id="rId38"/>
            </p:custDataLst>
          </p:nvPr>
        </p:nvSpPr>
        <p:spPr>
          <a:xfrm>
            <a:off x="5746012" y="2631565"/>
            <a:ext cx="1376465" cy="229197"/>
          </a:xfrm>
          <a:prstGeom prst="rect">
            <a:avLst/>
          </a:prstGeom>
          <a:solidFill>
            <a:srgbClr val="D4F1F5"/>
          </a:solidFill>
          <a:ln w="6350" cap="flat" cmpd="sng" algn="ctr">
            <a:solidFill>
              <a:srgbClr val="C7C7C7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>
            <a:defPPr>
              <a:defRPr lang="en-US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0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algn="ctr">
              <a:buClrTx/>
              <a:buSzTx/>
              <a:buFontTx/>
            </a:pPr>
            <a:r>
              <a:rPr lang="zh-CN" altLang="en-US" sz="800" dirty="0" smtClean="0">
                <a:cs typeface="+mn-ea"/>
                <a:sym typeface="+mn-ea"/>
              </a:rPr>
              <a:t>视频监控</a:t>
            </a:r>
            <a:endParaRPr kumimoji="0" lang="en-US" altLang="zh-CN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37" name="文本框 36"/>
          <p:cNvSpPr txBox="1"/>
          <p:nvPr>
            <p:custDataLst>
              <p:tags r:id="rId39"/>
            </p:custDataLst>
          </p:nvPr>
        </p:nvSpPr>
        <p:spPr>
          <a:xfrm>
            <a:off x="5746012" y="2901447"/>
            <a:ext cx="1376465" cy="281906"/>
          </a:xfrm>
          <a:prstGeom prst="rect">
            <a:avLst/>
          </a:prstGeom>
          <a:solidFill>
            <a:srgbClr val="D4F1F5"/>
          </a:solidFill>
          <a:ln w="6350" cap="flat" cmpd="sng" algn="ctr">
            <a:solidFill>
              <a:srgbClr val="C7C7C7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>
            <a:defPPr>
              <a:defRPr lang="en-US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0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lvl="0" algn="ctr">
              <a:buClrTx/>
              <a:buSzTx/>
              <a:buFontTx/>
            </a:pPr>
            <a:r>
              <a:rPr lang="zh-CN" altLang="en-US" sz="800" dirty="0" smtClean="0">
                <a:cs typeface="+mn-ea"/>
                <a:sym typeface="+mn-ea"/>
              </a:rPr>
              <a:t>事件中心</a:t>
            </a:r>
            <a:endParaRPr kumimoji="0" lang="en-US" altLang="zh-CN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38" name="文本框 37"/>
          <p:cNvSpPr txBox="1"/>
          <p:nvPr>
            <p:custDataLst>
              <p:tags r:id="rId40"/>
            </p:custDataLst>
          </p:nvPr>
        </p:nvSpPr>
        <p:spPr>
          <a:xfrm>
            <a:off x="5752115" y="3247581"/>
            <a:ext cx="1376466" cy="259554"/>
          </a:xfrm>
          <a:prstGeom prst="rect">
            <a:avLst/>
          </a:prstGeom>
          <a:solidFill>
            <a:srgbClr val="D4F1F5"/>
          </a:solidFill>
          <a:ln w="6350" cap="flat" cmpd="sng" algn="ctr">
            <a:solidFill>
              <a:srgbClr val="C7C7C7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>
            <a:defPPr>
              <a:defRPr lang="en-US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0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ctr" defTabSz="9131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Arial" panose="020B0604020202020204" pitchFamily="34" charset="0"/>
              </a:rPr>
              <a:t>商户</a:t>
            </a: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Arial" panose="020B0604020202020204" pitchFamily="34" charset="0"/>
              </a:rPr>
              <a:t>管理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39" name="文本框 38"/>
          <p:cNvSpPr txBox="1"/>
          <p:nvPr>
            <p:custDataLst>
              <p:tags r:id="rId41"/>
            </p:custDataLst>
          </p:nvPr>
        </p:nvSpPr>
        <p:spPr>
          <a:xfrm>
            <a:off x="2240915" y="2631440"/>
            <a:ext cx="770890" cy="229235"/>
          </a:xfrm>
          <a:prstGeom prst="rect">
            <a:avLst/>
          </a:prstGeom>
          <a:solidFill>
            <a:srgbClr val="D4F1F5"/>
          </a:solidFill>
          <a:ln w="6350" cap="flat" cmpd="sng" algn="ctr">
            <a:solidFill>
              <a:srgbClr val="C7C7C7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>
            <a:defPPr>
              <a:defRPr lang="en-US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0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ctr" defTabSz="9131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Arial" panose="020B0604020202020204" pitchFamily="34" charset="0"/>
              </a:rPr>
              <a:t>乱停乱放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40" name="文本框 39"/>
          <p:cNvSpPr txBox="1"/>
          <p:nvPr>
            <p:custDataLst>
              <p:tags r:id="rId42"/>
            </p:custDataLst>
          </p:nvPr>
        </p:nvSpPr>
        <p:spPr>
          <a:xfrm>
            <a:off x="2240915" y="2901315"/>
            <a:ext cx="771525" cy="257175"/>
          </a:xfrm>
          <a:prstGeom prst="rect">
            <a:avLst/>
          </a:prstGeom>
          <a:solidFill>
            <a:srgbClr val="D4F1F5"/>
          </a:solidFill>
          <a:ln w="6350" cap="flat" cmpd="sng" algn="ctr">
            <a:solidFill>
              <a:srgbClr val="C7C7C7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>
            <a:defPPr>
              <a:defRPr lang="en-US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0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ctr" defTabSz="9131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Arial" panose="020B0604020202020204" pitchFamily="34" charset="0"/>
              </a:rPr>
              <a:t>乱堆物料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41" name="文本框 40"/>
          <p:cNvSpPr txBox="1"/>
          <p:nvPr>
            <p:custDataLst>
              <p:tags r:id="rId43"/>
            </p:custDataLst>
          </p:nvPr>
        </p:nvSpPr>
        <p:spPr>
          <a:xfrm>
            <a:off x="2246630" y="3247390"/>
            <a:ext cx="765810" cy="259715"/>
          </a:xfrm>
          <a:prstGeom prst="rect">
            <a:avLst/>
          </a:prstGeom>
          <a:solidFill>
            <a:srgbClr val="D4F1F5"/>
          </a:solidFill>
          <a:ln w="6350" cap="flat" cmpd="sng" algn="ctr">
            <a:solidFill>
              <a:srgbClr val="C7C7C7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>
            <a:defPPr>
              <a:defRPr lang="en-US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0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ctr" defTabSz="9131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en-US" altLang="zh-CN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Arial" panose="020B0604020202020204" pitchFamily="34" charset="0"/>
              </a:rPr>
              <a:t>……</a:t>
            </a:r>
            <a:endParaRPr kumimoji="0" lang="en-US" altLang="zh-CN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5" name="文本框 4"/>
          <p:cNvSpPr txBox="1"/>
          <p:nvPr>
            <p:custDataLst>
              <p:tags r:id="rId44"/>
            </p:custDataLst>
          </p:nvPr>
        </p:nvSpPr>
        <p:spPr>
          <a:xfrm>
            <a:off x="8261350" y="1798955"/>
            <a:ext cx="3162935" cy="94107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marL="171450" indent="-171450" defTabSz="913765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00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大小模型协同，依托小模型事件快速检测，大模型二次核验，</a:t>
            </a:r>
            <a:r>
              <a:rPr lang="zh-CN" altLang="en-US" sz="100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大小模型结合提升事件</a:t>
            </a:r>
            <a:r>
              <a:rPr lang="zh-CN" altLang="en-US" sz="100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平均识别准确率达到</a:t>
            </a:r>
            <a:r>
              <a:rPr lang="en-US" altLang="zh-CN" sz="10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95%</a:t>
            </a:r>
            <a:r>
              <a:rPr lang="zh-CN" altLang="en-US" sz="1000" b="1" dirty="0">
                <a:solidFill>
                  <a:srgbClr val="C00000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以上。</a:t>
            </a:r>
            <a:endParaRPr lang="zh-CN" altLang="en-US" sz="1000" dirty="0">
              <a:solidFill>
                <a:srgbClr val="1D1D1A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7" name="文本框 6"/>
          <p:cNvSpPr txBox="1"/>
          <p:nvPr>
            <p:custDataLst>
              <p:tags r:id="rId45"/>
            </p:custDataLst>
          </p:nvPr>
        </p:nvSpPr>
        <p:spPr>
          <a:xfrm>
            <a:off x="8261350" y="3124835"/>
            <a:ext cx="3162935" cy="94107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marL="171450" indent="-171450" defTabSz="913765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00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基于大模型审核事件类型进行自动智能分拨下方处置，及处置结果智能复核归档，实现事件研判、处置、审核全流程智能</a:t>
            </a:r>
            <a:r>
              <a:rPr lang="zh-CN" altLang="en-US" sz="100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化。</a:t>
            </a:r>
            <a:endParaRPr lang="zh-CN" altLang="en-US" sz="1000" dirty="0">
              <a:solidFill>
                <a:srgbClr val="1D1D1A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8" name="矩形 7"/>
          <p:cNvSpPr/>
          <p:nvPr>
            <p:custDataLst>
              <p:tags r:id="rId46"/>
            </p:custDataLst>
          </p:nvPr>
        </p:nvSpPr>
        <p:spPr>
          <a:xfrm>
            <a:off x="8263890" y="5401945"/>
            <a:ext cx="2540635" cy="41021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自然语言操作</a:t>
            </a:r>
            <a:r>
              <a:rPr lang="zh-CN" altLang="en-US" sz="1200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轻松交互</a:t>
            </a:r>
            <a:endParaRPr lang="zh-CN" altLang="en-US" sz="1200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9" name="文本框 8"/>
          <p:cNvSpPr txBox="1"/>
          <p:nvPr>
            <p:custDataLst>
              <p:tags r:id="rId47"/>
            </p:custDataLst>
          </p:nvPr>
        </p:nvSpPr>
        <p:spPr>
          <a:xfrm>
            <a:off x="8261350" y="4465320"/>
            <a:ext cx="3162935" cy="94107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marL="171450" indent="-171450" defTabSz="913765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00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在传统</a:t>
            </a:r>
            <a:r>
              <a:rPr lang="zh-CN" altLang="en-US" sz="100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固定报表基础上，</a:t>
            </a:r>
            <a:r>
              <a:rPr lang="zh-CN" altLang="en-US" sz="100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依托大模型实现事件数据智能问答、智能分析及报告生成，灵活满足各种临时性数据分析需要和</a:t>
            </a:r>
            <a:r>
              <a:rPr lang="zh-CN" altLang="en-US" sz="100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图文报告</a:t>
            </a:r>
            <a:r>
              <a:rPr lang="zh-CN" altLang="en-US" sz="100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生成。</a:t>
            </a:r>
            <a:endParaRPr lang="zh-CN" altLang="en-US" sz="1000" dirty="0">
              <a:solidFill>
                <a:srgbClr val="1D1D1A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17" name="文本框 16"/>
          <p:cNvSpPr txBox="1"/>
          <p:nvPr>
            <p:custDataLst>
              <p:tags r:id="rId48"/>
            </p:custDataLst>
          </p:nvPr>
        </p:nvSpPr>
        <p:spPr>
          <a:xfrm>
            <a:off x="8261350" y="5805805"/>
            <a:ext cx="3162935" cy="57721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marL="171450" indent="-171450" defTabSz="913765">
              <a:lnSpc>
                <a:spcPct val="150000"/>
              </a:lnSpc>
              <a:buFont typeface="Arial" panose="020B0604020202020204" pitchFamily="34" charset="0"/>
              <a:buChar char="•"/>
              <a:defRPr/>
            </a:pPr>
            <a:r>
              <a:rPr lang="zh-CN" altLang="en-US" sz="100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支持自然语言对话式交互，实现大屏数据更新及各种界面操作，快速洞察定位事件发生</a:t>
            </a:r>
            <a:r>
              <a:rPr lang="zh-CN" altLang="en-US" sz="1000" dirty="0">
                <a:solidFill>
                  <a:srgbClr val="1D1D1A"/>
                </a:solidFill>
                <a:latin typeface="Arial" panose="020B0604020202020204" pitchFamily="34" charset="0"/>
                <a:ea typeface="微软雅黑" panose="020B0503020204020204" pitchFamily="34" charset="-122"/>
                <a:sym typeface="Arial" panose="020B0604020202020204" pitchFamily="34" charset="0"/>
              </a:rPr>
              <a:t>情况。</a:t>
            </a:r>
            <a:endParaRPr lang="zh-CN" altLang="en-US" sz="1000" dirty="0">
              <a:solidFill>
                <a:srgbClr val="1D1D1A"/>
              </a:solidFill>
              <a:latin typeface="Arial" panose="020B0604020202020204" pitchFamily="34" charset="0"/>
              <a:ea typeface="微软雅黑" panose="020B0503020204020204" pitchFamily="34" charset="-122"/>
              <a:sym typeface="Arial" panose="020B0604020202020204" pitchFamily="34" charset="0"/>
            </a:endParaRPr>
          </a:p>
        </p:txBody>
      </p:sp>
      <p:sp>
        <p:nvSpPr>
          <p:cNvPr id="3" name="文本框 2"/>
          <p:cNvSpPr txBox="1"/>
          <p:nvPr>
            <p:custDataLst>
              <p:tags r:id="rId49"/>
            </p:custDataLst>
          </p:nvPr>
        </p:nvSpPr>
        <p:spPr>
          <a:xfrm>
            <a:off x="4333240" y="2631440"/>
            <a:ext cx="658495" cy="229235"/>
          </a:xfrm>
          <a:prstGeom prst="rect">
            <a:avLst/>
          </a:prstGeom>
          <a:solidFill>
            <a:srgbClr val="D4F1F5"/>
          </a:solidFill>
          <a:ln w="6350" cap="flat" cmpd="sng" algn="ctr">
            <a:solidFill>
              <a:srgbClr val="C7C7C7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>
            <a:defPPr>
              <a:defRPr lang="en-US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0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ctr" defTabSz="9131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Arial" panose="020B0604020202020204" pitchFamily="34" charset="0"/>
              </a:rPr>
              <a:t>处置效果评估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  <p:sp>
        <p:nvSpPr>
          <p:cNvPr id="4" name="文本框 3"/>
          <p:cNvSpPr txBox="1"/>
          <p:nvPr>
            <p:custDataLst>
              <p:tags r:id="rId50"/>
            </p:custDataLst>
          </p:nvPr>
        </p:nvSpPr>
        <p:spPr>
          <a:xfrm>
            <a:off x="4333240" y="2901315"/>
            <a:ext cx="681990" cy="281940"/>
          </a:xfrm>
          <a:prstGeom prst="rect">
            <a:avLst/>
          </a:prstGeom>
          <a:solidFill>
            <a:srgbClr val="D4F1F5"/>
          </a:solidFill>
          <a:ln w="6350" cap="flat" cmpd="sng" algn="ctr">
            <a:solidFill>
              <a:srgbClr val="C7C7C7"/>
            </a:solidFill>
            <a:prstDash val="solid"/>
            <a:miter lim="800000"/>
          </a:ln>
          <a:effectLst/>
        </p:spPr>
        <p:txBody>
          <a:bodyPr vert="horz" wrap="square" lIns="0" tIns="35978" rIns="0" bIns="35978" rtlCol="0" anchor="ctr" anchorCtr="0">
            <a:noAutofit/>
          </a:bodyPr>
          <a:lstStyle>
            <a:defPPr>
              <a:defRPr lang="en-US"/>
            </a:defPPr>
            <a:lvl1pPr marR="0" lvl="0" indent="0" algn="ctr" defTabSz="913765" fontAlgn="auto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 kumimoji="0" sz="1000" b="0" i="0" u="none" strike="noStrike" kern="0" cap="none" spc="0" normalizeH="0" baseline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</a:defRPr>
            </a:lvl1pPr>
          </a:lstStyle>
          <a:p>
            <a:pPr marL="0" marR="0" lvl="0" indent="0" algn="ctr" defTabSz="91313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altLang="en-US" sz="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sym typeface="Arial" panose="020B0604020202020204" pitchFamily="34" charset="0"/>
              </a:rPr>
              <a:t>动态大屏</a:t>
            </a:r>
            <a:endParaRPr kumimoji="0" lang="zh-CN" altLang="en-US" sz="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sym typeface="Arial" panose="020B0604020202020204" pitchFamily="34" charset="0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2" name="任意多边形 181"/>
          <p:cNvSpPr/>
          <p:nvPr/>
        </p:nvSpPr>
        <p:spPr>
          <a:xfrm rot="13500000">
            <a:off x="3669665" y="2725420"/>
            <a:ext cx="6240780" cy="6259195"/>
          </a:xfrm>
          <a:custGeom>
            <a:avLst/>
            <a:gdLst>
              <a:gd name="connsiteX0" fmla="*/ 0 w 1038"/>
              <a:gd name="connsiteY0" fmla="*/ 986 h 986"/>
              <a:gd name="connsiteX1" fmla="*/ 307 w 1038"/>
              <a:gd name="connsiteY1" fmla="*/ 0 h 986"/>
              <a:gd name="connsiteX2" fmla="*/ 1038 w 1038"/>
              <a:gd name="connsiteY2" fmla="*/ 731 h 986"/>
              <a:gd name="connsiteX3" fmla="*/ 0 w 1038"/>
              <a:gd name="connsiteY3" fmla="*/ 986 h 986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11172" h="11153">
                <a:moveTo>
                  <a:pt x="0" y="11153"/>
                </a:moveTo>
                <a:lnTo>
                  <a:pt x="226" y="10426"/>
                </a:lnTo>
                <a:lnTo>
                  <a:pt x="371" y="10571"/>
                </a:lnTo>
                <a:lnTo>
                  <a:pt x="10942" y="0"/>
                </a:lnTo>
                <a:lnTo>
                  <a:pt x="11172" y="229"/>
                </a:lnTo>
                <a:lnTo>
                  <a:pt x="600" y="10800"/>
                </a:lnTo>
                <a:lnTo>
                  <a:pt x="765" y="10965"/>
                </a:lnTo>
                <a:lnTo>
                  <a:pt x="0" y="11153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60896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121793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826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243586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3044825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3653790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4262755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4871720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 lvl="0" algn="ctr">
              <a:buClrTx/>
              <a:buSzTx/>
              <a:buFontTx/>
            </a:pP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6" name="标题 1"/>
          <p:cNvSpPr txBox="1"/>
          <p:nvPr/>
        </p:nvSpPr>
        <p:spPr>
          <a:xfrm>
            <a:off x="533436" y="390115"/>
            <a:ext cx="11198316" cy="462021"/>
          </a:xfrm>
          <a:prstGeom prst="rect">
            <a:avLst/>
          </a:prstGeom>
        </p:spPr>
        <p:txBody>
          <a:bodyPr anchor="t" anchorCtr="0"/>
          <a:lstStyle>
            <a:lvl1pPr algn="l" defTabSz="11861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5" b="1" kern="1200">
                <a:solidFill>
                  <a:srgbClr val="99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marL="0" marR="0" lvl="0" indent="0" algn="l" defTabSz="118618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sz="2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微软雅黑" panose="020B0503020204020204" pitchFamily="34" charset="-122"/>
              </a:rPr>
              <a:t>门前四包监管</a:t>
            </a:r>
            <a:r>
              <a:rPr kumimoji="0" lang="zh-CN" alt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微软雅黑" panose="020B0503020204020204" pitchFamily="34" charset="-122"/>
              </a:rPr>
              <a:t>助手，大模型赋能全流程业务闭环</a:t>
            </a:r>
            <a:endParaRPr kumimoji="0" lang="zh-CN" altLang="en-US" sz="2400" b="1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  <a:sym typeface="微软雅黑" panose="020B0503020204020204" pitchFamily="34" charset="-122"/>
            </a:endParaRPr>
          </a:p>
        </p:txBody>
      </p:sp>
      <p:sp>
        <p:nvSpPr>
          <p:cNvPr id="175" name="任意多边形 174"/>
          <p:cNvSpPr/>
          <p:nvPr/>
        </p:nvSpPr>
        <p:spPr>
          <a:xfrm flipH="1">
            <a:off x="1731010" y="3662680"/>
            <a:ext cx="756920" cy="2153920"/>
          </a:xfrm>
          <a:custGeom>
            <a:avLst/>
            <a:gdLst/>
            <a:ahLst/>
            <a:cxnLst>
              <a:cxn ang="3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303" h="4231">
                <a:moveTo>
                  <a:pt x="0" y="6"/>
                </a:moveTo>
                <a:lnTo>
                  <a:pt x="35" y="3"/>
                </a:lnTo>
                <a:lnTo>
                  <a:pt x="86" y="1"/>
                </a:lnTo>
                <a:lnTo>
                  <a:pt x="136" y="0"/>
                </a:lnTo>
                <a:lnTo>
                  <a:pt x="187" y="1"/>
                </a:lnTo>
                <a:lnTo>
                  <a:pt x="243" y="0"/>
                </a:lnTo>
                <a:cubicBezTo>
                  <a:pt x="1404" y="-34"/>
                  <a:pt x="2329" y="1134"/>
                  <a:pt x="2302" y="2064"/>
                </a:cubicBezTo>
                <a:lnTo>
                  <a:pt x="2301" y="2115"/>
                </a:lnTo>
                <a:lnTo>
                  <a:pt x="2302" y="2171"/>
                </a:lnTo>
                <a:cubicBezTo>
                  <a:pt x="2336" y="3332"/>
                  <a:pt x="1168" y="4257"/>
                  <a:pt x="238" y="4230"/>
                </a:cubicBezTo>
                <a:lnTo>
                  <a:pt x="187" y="4229"/>
                </a:lnTo>
                <a:lnTo>
                  <a:pt x="131" y="4230"/>
                </a:lnTo>
                <a:lnTo>
                  <a:pt x="75" y="4229"/>
                </a:lnTo>
                <a:lnTo>
                  <a:pt x="19" y="4227"/>
                </a:lnTo>
                <a:lnTo>
                  <a:pt x="0" y="4225"/>
                </a:lnTo>
                <a:lnTo>
                  <a:pt x="0" y="3919"/>
                </a:lnTo>
                <a:lnTo>
                  <a:pt x="43" y="3922"/>
                </a:lnTo>
                <a:lnTo>
                  <a:pt x="91" y="3924"/>
                </a:lnTo>
                <a:lnTo>
                  <a:pt x="139" y="3925"/>
                </a:lnTo>
                <a:lnTo>
                  <a:pt x="187" y="3924"/>
                </a:lnTo>
                <a:lnTo>
                  <a:pt x="230" y="3925"/>
                </a:lnTo>
                <a:cubicBezTo>
                  <a:pt x="1127" y="3954"/>
                  <a:pt x="2026" y="3051"/>
                  <a:pt x="1997" y="2163"/>
                </a:cubicBezTo>
                <a:lnTo>
                  <a:pt x="1996" y="2115"/>
                </a:lnTo>
                <a:lnTo>
                  <a:pt x="1997" y="2072"/>
                </a:lnTo>
                <a:cubicBezTo>
                  <a:pt x="2027" y="1175"/>
                  <a:pt x="1123" y="276"/>
                  <a:pt x="235" y="305"/>
                </a:cubicBezTo>
                <a:lnTo>
                  <a:pt x="187" y="306"/>
                </a:lnTo>
                <a:lnTo>
                  <a:pt x="144" y="305"/>
                </a:lnTo>
                <a:lnTo>
                  <a:pt x="100" y="306"/>
                </a:lnTo>
                <a:lnTo>
                  <a:pt x="57" y="308"/>
                </a:lnTo>
                <a:lnTo>
                  <a:pt x="14" y="311"/>
                </a:lnTo>
                <a:lnTo>
                  <a:pt x="0" y="312"/>
                </a:lnTo>
                <a:lnTo>
                  <a:pt x="0" y="6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60896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121793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826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243586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3044825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3653790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4262755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4871720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 lvl="0" algn="ctr">
              <a:buClrTx/>
              <a:buSzTx/>
              <a:buFontTx/>
            </a:pP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76" name="圆角矩形 175"/>
          <p:cNvSpPr/>
          <p:nvPr/>
        </p:nvSpPr>
        <p:spPr>
          <a:xfrm>
            <a:off x="2182495" y="2750185"/>
            <a:ext cx="8655050" cy="1609090"/>
          </a:xfrm>
          <a:prstGeom prst="roundRect">
            <a:avLst>
              <a:gd name="adj" fmla="val 3974"/>
            </a:avLst>
          </a:prstGeom>
          <a:noFill/>
          <a:ln w="12700" cmpd="sng">
            <a:solidFill>
              <a:schemeClr val="accent1"/>
            </a:solidFill>
            <a:prstDash val="dash"/>
          </a:ln>
          <a:effectLst>
            <a:outerShdw blurRad="406400" dist="76200" dir="5400000" algn="t" rotWithShape="0">
              <a:srgbClr val="C00000">
                <a:alpha val="4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chemeClr val="bg1">
                    <a:lumMod val="85000"/>
                  </a:schemeClr>
                </a:solidFill>
              </a14:hiddenFill>
            </a:ext>
          </a:ex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t"/>
            <a:endParaRPr lang="zh-CN" altLang="en-US" b="1">
              <a:solidFill>
                <a:srgbClr val="C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7" name="任意多边形 176"/>
          <p:cNvSpPr/>
          <p:nvPr/>
        </p:nvSpPr>
        <p:spPr>
          <a:xfrm>
            <a:off x="10201275" y="1755140"/>
            <a:ext cx="1008380" cy="2105660"/>
          </a:xfrm>
          <a:custGeom>
            <a:avLst/>
            <a:gdLst/>
            <a:ahLst/>
            <a:cxnLst>
              <a:cxn ang="3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303" h="4231">
                <a:moveTo>
                  <a:pt x="0" y="6"/>
                </a:moveTo>
                <a:lnTo>
                  <a:pt x="35" y="3"/>
                </a:lnTo>
                <a:lnTo>
                  <a:pt x="86" y="1"/>
                </a:lnTo>
                <a:lnTo>
                  <a:pt x="136" y="0"/>
                </a:lnTo>
                <a:lnTo>
                  <a:pt x="187" y="1"/>
                </a:lnTo>
                <a:lnTo>
                  <a:pt x="243" y="0"/>
                </a:lnTo>
                <a:cubicBezTo>
                  <a:pt x="1404" y="-34"/>
                  <a:pt x="2329" y="1134"/>
                  <a:pt x="2302" y="2064"/>
                </a:cubicBezTo>
                <a:lnTo>
                  <a:pt x="2301" y="2115"/>
                </a:lnTo>
                <a:lnTo>
                  <a:pt x="2302" y="2171"/>
                </a:lnTo>
                <a:cubicBezTo>
                  <a:pt x="2336" y="3332"/>
                  <a:pt x="1168" y="4257"/>
                  <a:pt x="238" y="4230"/>
                </a:cubicBezTo>
                <a:lnTo>
                  <a:pt x="187" y="4229"/>
                </a:lnTo>
                <a:lnTo>
                  <a:pt x="131" y="4230"/>
                </a:lnTo>
                <a:lnTo>
                  <a:pt x="75" y="4229"/>
                </a:lnTo>
                <a:lnTo>
                  <a:pt x="19" y="4227"/>
                </a:lnTo>
                <a:lnTo>
                  <a:pt x="0" y="4225"/>
                </a:lnTo>
                <a:lnTo>
                  <a:pt x="0" y="3919"/>
                </a:lnTo>
                <a:lnTo>
                  <a:pt x="43" y="3922"/>
                </a:lnTo>
                <a:lnTo>
                  <a:pt x="91" y="3924"/>
                </a:lnTo>
                <a:lnTo>
                  <a:pt x="139" y="3925"/>
                </a:lnTo>
                <a:lnTo>
                  <a:pt x="187" y="3924"/>
                </a:lnTo>
                <a:lnTo>
                  <a:pt x="230" y="3925"/>
                </a:lnTo>
                <a:cubicBezTo>
                  <a:pt x="1127" y="3954"/>
                  <a:pt x="2026" y="3051"/>
                  <a:pt x="1997" y="2163"/>
                </a:cubicBezTo>
                <a:lnTo>
                  <a:pt x="1996" y="2115"/>
                </a:lnTo>
                <a:lnTo>
                  <a:pt x="1997" y="2072"/>
                </a:lnTo>
                <a:cubicBezTo>
                  <a:pt x="2027" y="1175"/>
                  <a:pt x="1123" y="276"/>
                  <a:pt x="235" y="305"/>
                </a:cubicBezTo>
                <a:lnTo>
                  <a:pt x="187" y="306"/>
                </a:lnTo>
                <a:lnTo>
                  <a:pt x="144" y="305"/>
                </a:lnTo>
                <a:lnTo>
                  <a:pt x="100" y="306"/>
                </a:lnTo>
                <a:lnTo>
                  <a:pt x="57" y="308"/>
                </a:lnTo>
                <a:lnTo>
                  <a:pt x="14" y="311"/>
                </a:lnTo>
                <a:lnTo>
                  <a:pt x="0" y="312"/>
                </a:lnTo>
                <a:lnTo>
                  <a:pt x="0" y="6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60896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121793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826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243586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3044825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3653790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4262755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4871720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 lvl="0" algn="ctr">
              <a:buClrTx/>
              <a:buSzTx/>
              <a:buFontTx/>
            </a:pP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78" name="圆角矩形 177"/>
          <p:cNvSpPr/>
          <p:nvPr/>
        </p:nvSpPr>
        <p:spPr>
          <a:xfrm>
            <a:off x="2181860" y="4734560"/>
            <a:ext cx="8655685" cy="1551940"/>
          </a:xfrm>
          <a:prstGeom prst="roundRect">
            <a:avLst>
              <a:gd name="adj" fmla="val 3974"/>
            </a:avLst>
          </a:prstGeom>
          <a:solidFill>
            <a:srgbClr val="C00000">
              <a:alpha val="0"/>
            </a:srgbClr>
          </a:solidFill>
          <a:ln w="12700" cmpd="sng">
            <a:solidFill>
              <a:schemeClr val="accent1">
                <a:alpha val="70000"/>
              </a:schemeClr>
            </a:solidFill>
            <a:prstDash val="dash"/>
          </a:ln>
          <a:effectLst>
            <a:outerShdw blurRad="406400" dist="76200" dir="5400000" algn="t" rotWithShape="0">
              <a:srgbClr val="C00000">
                <a:alpha val="40000"/>
              </a:srgbClr>
            </a:outerShdw>
          </a:effec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t"/>
            <a:endParaRPr lang="zh-CN" altLang="en-US">
              <a:ln>
                <a:solidFill>
                  <a:schemeClr val="accent1"/>
                </a:solidFill>
              </a:ln>
              <a:solidFill>
                <a:srgbClr val="C00000">
                  <a:alpha val="7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79" name="圆角矩形 178"/>
          <p:cNvSpPr/>
          <p:nvPr/>
        </p:nvSpPr>
        <p:spPr>
          <a:xfrm>
            <a:off x="2181860" y="920750"/>
            <a:ext cx="8656320" cy="1505585"/>
          </a:xfrm>
          <a:prstGeom prst="roundRect">
            <a:avLst>
              <a:gd name="adj" fmla="val 3974"/>
            </a:avLst>
          </a:prstGeom>
          <a:solidFill>
            <a:srgbClr val="C00000">
              <a:alpha val="0"/>
            </a:srgbClr>
          </a:solidFill>
          <a:ln w="12700" cmpd="sng">
            <a:solidFill>
              <a:schemeClr val="accent1">
                <a:alpha val="70000"/>
              </a:schemeClr>
            </a:solidFill>
            <a:prstDash val="dash"/>
          </a:ln>
          <a:effectLst>
            <a:outerShdw blurRad="406400" dist="76200" dir="5400000" algn="t" rotWithShape="0">
              <a:srgbClr val="C00000">
                <a:alpha val="40000"/>
              </a:srgbClr>
            </a:outerShdw>
          </a:effectLst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t" anchorCtr="0"/>
          <a:lstStyle/>
          <a:p>
            <a:pPr algn="ctr" fontAlgn="t"/>
            <a:endParaRPr lang="zh-CN" altLang="en-US">
              <a:solidFill>
                <a:srgbClr val="C00000">
                  <a:alpha val="7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80" name="圆角矩形 179"/>
          <p:cNvSpPr/>
          <p:nvPr>
            <p:custDataLst>
              <p:tags r:id="rId1"/>
            </p:custDataLst>
          </p:nvPr>
        </p:nvSpPr>
        <p:spPr>
          <a:xfrm rot="10800000">
            <a:off x="1777365" y="1737360"/>
            <a:ext cx="8719185" cy="205740"/>
          </a:xfrm>
          <a:prstGeom prst="roundRect">
            <a:avLst/>
          </a:pr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60896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121793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826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243586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3044825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3653790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4262755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4871720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 lvl="0" algn="ctr">
              <a:buClrTx/>
              <a:buSzTx/>
              <a:buFontTx/>
            </a:pPr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81" name="任意多边形 180"/>
          <p:cNvSpPr/>
          <p:nvPr>
            <p:custDataLst>
              <p:tags r:id="rId2"/>
            </p:custDataLst>
          </p:nvPr>
        </p:nvSpPr>
        <p:spPr>
          <a:xfrm rot="10800000">
            <a:off x="2289175" y="3662680"/>
            <a:ext cx="8208010" cy="205740"/>
          </a:xfrm>
          <a:custGeom>
            <a:avLst/>
            <a:gdLst>
              <a:gd name="adj" fmla="val 50000"/>
              <a:gd name="a" fmla="pin 0 adj 50000"/>
              <a:gd name="x1" fmla="*/ ss a 100000"/>
              <a:gd name="x2" fmla="+- r 0 x1"/>
              <a:gd name="y2" fmla="+- b 0 x1"/>
              <a:gd name="il" fmla="*/ x1 29289 100000"/>
              <a:gd name="ir" fmla="+- r 0 il"/>
              <a:gd name="ib" fmla="+- b 0 il"/>
            </a:gdLst>
            <a:ahLst/>
            <a:cxnLst>
              <a:cxn ang="3">
                <a:pos x="hc" y="t"/>
              </a:cxn>
              <a:cxn ang="cd2">
                <a:pos x="l" y="vc"/>
              </a:cxn>
              <a:cxn ang="cd4">
                <a:pos x="hc" y="b"/>
              </a:cxn>
              <a:cxn ang="0">
                <a:pos x="r" y="vc"/>
              </a:cxn>
            </a:cxnLst>
            <a:rect l="l" t="t" r="r" b="b"/>
            <a:pathLst>
              <a:path w="2878" h="324">
                <a:moveTo>
                  <a:pt x="0" y="0"/>
                </a:moveTo>
                <a:lnTo>
                  <a:pt x="2878" y="0"/>
                </a:lnTo>
                <a:lnTo>
                  <a:pt x="2878" y="324"/>
                </a:lnTo>
                <a:lnTo>
                  <a:pt x="0" y="324"/>
                </a:lnTo>
                <a:lnTo>
                  <a:pt x="0" y="0"/>
                </a:lnTo>
                <a:close/>
              </a:path>
            </a:pathLst>
          </a:custGeom>
          <a:solidFill>
            <a:schemeClr val="accent1">
              <a:alpha val="80000"/>
            </a:schemeClr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1pPr>
            <a:lvl2pPr marL="60896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2pPr>
            <a:lvl3pPr marL="121793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3pPr>
            <a:lvl4pPr marL="1826895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4pPr>
            <a:lvl5pPr marL="2435860" algn="l" rtl="0" fontAlgn="base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5pPr>
            <a:lvl6pPr marL="3044825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6pPr>
            <a:lvl7pPr marL="3653790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7pPr>
            <a:lvl8pPr marL="4262755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8pPr>
            <a:lvl9pPr marL="4871720" algn="l" defTabSz="1217930" rtl="0" eaLnBrk="1" latinLnBrk="0" hangingPunct="1">
              <a:defRPr kern="1200">
                <a:solidFill>
                  <a:schemeClr val="lt1"/>
                </a:solidFill>
                <a:latin typeface="Calibri" panose="020F0502020204030204" charset="0"/>
                <a:ea typeface="宋体" panose="02010600030101010101" pitchFamily="2" charset="-122"/>
                <a:cs typeface="+mn-cs"/>
              </a:defRPr>
            </a:lvl9pPr>
          </a:lstStyle>
          <a:p>
            <a:pPr lvl="0" algn="ctr">
              <a:buClrTx/>
              <a:buSzTx/>
              <a:buFontTx/>
            </a:pPr>
            <a:endParaRPr lang="zh-CN" altLang="en-US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83" name="燕尾形 182"/>
          <p:cNvSpPr/>
          <p:nvPr/>
        </p:nvSpPr>
        <p:spPr>
          <a:xfrm>
            <a:off x="8642350" y="1755140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84" name="燕尾形 183"/>
          <p:cNvSpPr/>
          <p:nvPr/>
        </p:nvSpPr>
        <p:spPr>
          <a:xfrm>
            <a:off x="9083040" y="1755140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85" name="燕尾形 184"/>
          <p:cNvSpPr/>
          <p:nvPr/>
        </p:nvSpPr>
        <p:spPr>
          <a:xfrm>
            <a:off x="7169150" y="1755140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86" name="燕尾形 185"/>
          <p:cNvSpPr/>
          <p:nvPr/>
        </p:nvSpPr>
        <p:spPr>
          <a:xfrm>
            <a:off x="8348980" y="1788795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87" name="燕尾形 186"/>
          <p:cNvSpPr/>
          <p:nvPr/>
        </p:nvSpPr>
        <p:spPr>
          <a:xfrm>
            <a:off x="7080885" y="5427345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 b="1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88" name="燕尾形 187"/>
          <p:cNvSpPr/>
          <p:nvPr/>
        </p:nvSpPr>
        <p:spPr>
          <a:xfrm>
            <a:off x="8234680" y="5405120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 b="1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90" name="燕尾形 189"/>
          <p:cNvSpPr/>
          <p:nvPr/>
        </p:nvSpPr>
        <p:spPr>
          <a:xfrm>
            <a:off x="5227320" y="5413375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 b="1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91" name="燕尾形 190"/>
          <p:cNvSpPr/>
          <p:nvPr/>
        </p:nvSpPr>
        <p:spPr>
          <a:xfrm>
            <a:off x="4010660" y="5481320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 b="1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92" name="燕尾形 191"/>
          <p:cNvSpPr/>
          <p:nvPr/>
        </p:nvSpPr>
        <p:spPr>
          <a:xfrm>
            <a:off x="4389120" y="5467350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 b="1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93" name="燕尾形 192"/>
          <p:cNvSpPr/>
          <p:nvPr/>
        </p:nvSpPr>
        <p:spPr>
          <a:xfrm>
            <a:off x="3649345" y="1755140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94" name="燕尾形 193"/>
          <p:cNvSpPr/>
          <p:nvPr/>
        </p:nvSpPr>
        <p:spPr>
          <a:xfrm>
            <a:off x="4381500" y="1755140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95" name="燕尾形 194"/>
          <p:cNvSpPr/>
          <p:nvPr/>
        </p:nvSpPr>
        <p:spPr>
          <a:xfrm>
            <a:off x="1200785" y="1755140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6" name="燕尾形 195"/>
          <p:cNvSpPr/>
          <p:nvPr/>
        </p:nvSpPr>
        <p:spPr>
          <a:xfrm>
            <a:off x="2090420" y="1755140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97" name="燕尾形 196"/>
          <p:cNvSpPr/>
          <p:nvPr/>
        </p:nvSpPr>
        <p:spPr>
          <a:xfrm>
            <a:off x="5335905" y="3740785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 b="1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98" name="燕尾形 197"/>
          <p:cNvSpPr/>
          <p:nvPr/>
        </p:nvSpPr>
        <p:spPr>
          <a:xfrm>
            <a:off x="7000240" y="3739515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 b="1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99" name="燕尾形 198"/>
          <p:cNvSpPr/>
          <p:nvPr/>
        </p:nvSpPr>
        <p:spPr>
          <a:xfrm>
            <a:off x="8299450" y="3694430"/>
            <a:ext cx="14922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 b="1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03" name="燕尾形 202"/>
          <p:cNvSpPr/>
          <p:nvPr/>
        </p:nvSpPr>
        <p:spPr>
          <a:xfrm rot="2700000">
            <a:off x="11165205" y="1998980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04" name="燕尾形 203"/>
          <p:cNvSpPr/>
          <p:nvPr/>
        </p:nvSpPr>
        <p:spPr>
          <a:xfrm rot="8100000">
            <a:off x="11249025" y="3568065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05" name="燕尾形 204"/>
          <p:cNvSpPr/>
          <p:nvPr/>
        </p:nvSpPr>
        <p:spPr>
          <a:xfrm rot="5400000">
            <a:off x="1573530" y="4836795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06" name="燕尾形 205"/>
          <p:cNvSpPr/>
          <p:nvPr/>
        </p:nvSpPr>
        <p:spPr>
          <a:xfrm rot="2700000">
            <a:off x="2080260" y="5368290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cxnSp>
        <p:nvCxnSpPr>
          <p:cNvPr id="207" name="直接连接符 206"/>
          <p:cNvCxnSpPr/>
          <p:nvPr>
            <p:custDataLst>
              <p:tags r:id="rId3"/>
            </p:custDataLst>
          </p:nvPr>
        </p:nvCxnSpPr>
        <p:spPr>
          <a:xfrm>
            <a:off x="2721610" y="3014345"/>
            <a:ext cx="0" cy="757555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</a:ln>
          <a:scene3d>
            <a:camera prst="orthographicFront"/>
            <a:lightRig rig="contrasting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08" name="矩形: 剪去单角 39"/>
          <p:cNvSpPr/>
          <p:nvPr>
            <p:custDataLst>
              <p:tags r:id="rId4"/>
            </p:custDataLst>
          </p:nvPr>
        </p:nvSpPr>
        <p:spPr>
          <a:xfrm>
            <a:off x="2721610" y="2906395"/>
            <a:ext cx="1478280" cy="335915"/>
          </a:xfrm>
          <a:prstGeom prst="snip1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</a:ln>
          <a:scene3d>
            <a:camera prst="orthographicFront"/>
            <a:lightRig rig="contrasting" dir="t"/>
          </a:scene3d>
        </p:spPr>
        <p:txBody>
          <a:bodyPr vert="horz" wrap="square" lIns="0" tIns="45712" rIns="91425" bIns="45712" numCol="1" anchor="ctr" anchorCtr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Tx/>
              <a:buSzTx/>
              <a:buFontTx/>
            </a:pP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大模型处置核查</a:t>
            </a:r>
            <a:endParaRPr lang="zh-CN" altLang="en-US" sz="10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09" name="燕尾形 208"/>
          <p:cNvSpPr/>
          <p:nvPr/>
        </p:nvSpPr>
        <p:spPr>
          <a:xfrm>
            <a:off x="3776345" y="3691890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 sz="1800" b="1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210" name="图片 209" descr="C:/Users/王胜俊/Desktop/图片2.png图片2"/>
          <p:cNvPicPr>
            <a:picLocks noChangeAspect="1"/>
          </p:cNvPicPr>
          <p:nvPr/>
        </p:nvPicPr>
        <p:blipFill>
          <a:blip r:embed="rId5"/>
          <a:srcRect t="3291" b="3291"/>
          <a:stretch>
            <a:fillRect/>
          </a:stretch>
        </p:blipFill>
        <p:spPr>
          <a:xfrm>
            <a:off x="5623560" y="1530350"/>
            <a:ext cx="1457325" cy="765810"/>
          </a:xfrm>
          <a:prstGeom prst="roundRect">
            <a:avLst/>
          </a:prstGeom>
          <a:gradFill flip="none" rotWithShape="1">
            <a:gsLst>
              <a:gs pos="100000">
                <a:schemeClr val="bg1">
                  <a:alpha val="30000"/>
                </a:schemeClr>
              </a:gs>
              <a:gs pos="0">
                <a:srgbClr val="0070C0">
                  <a:alpha val="30000"/>
                </a:srgbClr>
              </a:gs>
            </a:gsLst>
            <a:lin ang="0" scaled="0"/>
          </a:gradFill>
          <a:ln>
            <a:noFill/>
          </a:ln>
          <a:effectLst>
            <a:outerShdw blurRad="203200" dist="76200" dir="2160000" algn="tr" rotWithShape="0">
              <a:schemeClr val="accent1">
                <a:alpha val="20000"/>
              </a:schemeClr>
            </a:outerShdw>
          </a:effectLst>
        </p:spPr>
      </p:pic>
      <p:sp>
        <p:nvSpPr>
          <p:cNvPr id="211" name="箭头: 五边形 85"/>
          <p:cNvSpPr/>
          <p:nvPr>
            <p:custDataLst>
              <p:tags r:id="rId6"/>
            </p:custDataLst>
          </p:nvPr>
        </p:nvSpPr>
        <p:spPr>
          <a:xfrm>
            <a:off x="5624195" y="1521460"/>
            <a:ext cx="1457325" cy="775335"/>
          </a:xfrm>
          <a:prstGeom prst="round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  <a:effectLst>
            <a:outerShdw blurRad="203200" dist="76200" dir="2160000" algn="tr" rotWithShape="0">
              <a:schemeClr val="accent1">
                <a:alpha val="20000"/>
              </a:scheme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rmAutofit/>
          </a:bodyPr>
          <a:lstStyle/>
          <a:p>
            <a:pPr lvl="0" algn="ctr">
              <a:buClrTx/>
              <a:buSzTx/>
              <a:buFontTx/>
            </a:pPr>
            <a:r>
              <a:rPr lang="zh-CN" altLang="en-US"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任务设置</a:t>
            </a:r>
            <a:endParaRPr lang="zh-CN" altLang="en-US" sz="12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>
              <a:buClrTx/>
              <a:buSzTx/>
              <a:buFontTx/>
            </a:pPr>
            <a:r>
              <a:rPr lang="zh-CN" altLang="en-US" sz="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多模态意图理解</a:t>
            </a:r>
            <a:endParaRPr lang="zh-CN" altLang="en-US" sz="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ea"/>
            </a:endParaRPr>
          </a:p>
          <a:p>
            <a:pPr lvl="0" algn="ctr">
              <a:buClrTx/>
              <a:buSzTx/>
              <a:buFontTx/>
            </a:pPr>
            <a:r>
              <a:rPr lang="zh-CN" altLang="en-US" sz="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rPr>
              <a:t>自定义开放式任务</a:t>
            </a:r>
            <a:endParaRPr lang="zh-CN" altLang="en-US" sz="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ea"/>
            </a:endParaRPr>
          </a:p>
        </p:txBody>
      </p:sp>
      <p:pic>
        <p:nvPicPr>
          <p:cNvPr id="212" name="图片 211" descr="C:/Users/王胜俊/Desktop/图片1.png图片1"/>
          <p:cNvPicPr/>
          <p:nvPr/>
        </p:nvPicPr>
        <p:blipFill>
          <a:blip r:embed="rId7"/>
          <a:srcRect l="42" r="42"/>
          <a:stretch>
            <a:fillRect/>
          </a:stretch>
        </p:blipFill>
        <p:spPr>
          <a:xfrm>
            <a:off x="2715260" y="1482725"/>
            <a:ext cx="1483995" cy="755015"/>
          </a:xfrm>
          <a:prstGeom prst="roundRect">
            <a:avLst/>
          </a:prstGeom>
          <a:noFill/>
          <a:ln w="9525">
            <a:noFill/>
          </a:ln>
        </p:spPr>
      </p:pic>
      <p:sp>
        <p:nvSpPr>
          <p:cNvPr id="213" name="箭头: 五边形 85"/>
          <p:cNvSpPr/>
          <p:nvPr>
            <p:custDataLst>
              <p:tags r:id="rId8"/>
            </p:custDataLst>
          </p:nvPr>
        </p:nvSpPr>
        <p:spPr>
          <a:xfrm>
            <a:off x="2715260" y="1482725"/>
            <a:ext cx="1484630" cy="768350"/>
          </a:xfrm>
          <a:prstGeom prst="round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  <a:effectLst>
            <a:outerShdw blurRad="203200" dist="76200" dir="2160000" algn="tr" rotWithShape="0">
              <a:schemeClr val="accent1">
                <a:alpha val="20000"/>
              </a:scheme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rmAutofit/>
          </a:bodyPr>
          <a:p>
            <a:pPr lvl="0" algn="ctr">
              <a:buClrTx/>
              <a:buSzTx/>
              <a:buFontTx/>
            </a:pPr>
            <a:r>
              <a:rPr lang="zh-CN" altLang="en-US"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固定视频接入</a:t>
            </a:r>
            <a:endParaRPr lang="zh-CN" altLang="en-US" sz="12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>
              <a:buClrTx/>
              <a:buSzTx/>
              <a:buFontTx/>
            </a:pPr>
            <a:r>
              <a:rPr lang="zh-CN" altLang="en-US"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移动视频接入</a:t>
            </a:r>
            <a:endParaRPr lang="zh-CN" altLang="en-US" sz="12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214" name="图片 213" descr="C:/Users/王胜俊/Desktop/图片3.png图片3"/>
          <p:cNvPicPr>
            <a:picLocks noChangeAspect="1"/>
          </p:cNvPicPr>
          <p:nvPr/>
        </p:nvPicPr>
        <p:blipFill>
          <a:blip r:embed="rId9"/>
          <a:srcRect t="10481" b="10481"/>
          <a:stretch>
            <a:fillRect/>
          </a:stretch>
        </p:blipFill>
        <p:spPr>
          <a:xfrm>
            <a:off x="8540115" y="1552575"/>
            <a:ext cx="1411605" cy="743585"/>
          </a:xfrm>
          <a:prstGeom prst="roundRect">
            <a:avLst/>
          </a:prstGeom>
          <a:effectLst>
            <a:outerShdw blurRad="50800" dist="38100" dir="2700000" algn="tl" rotWithShape="0">
              <a:prstClr val="black">
                <a:alpha val="40000"/>
              </a:prstClr>
            </a:outerShdw>
          </a:effectLst>
        </p:spPr>
      </p:pic>
      <p:sp>
        <p:nvSpPr>
          <p:cNvPr id="215" name="箭头: 五边形 85"/>
          <p:cNvSpPr/>
          <p:nvPr>
            <p:custDataLst>
              <p:tags r:id="rId10"/>
            </p:custDataLst>
          </p:nvPr>
        </p:nvSpPr>
        <p:spPr>
          <a:xfrm>
            <a:off x="8540115" y="1530350"/>
            <a:ext cx="1412240" cy="765810"/>
          </a:xfrm>
          <a:prstGeom prst="round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  <a:effectLst>
            <a:outerShdw blurRad="203200" dist="76200" dir="2160000" algn="tr" rotWithShape="0">
              <a:schemeClr val="accent1">
                <a:alpha val="20000"/>
              </a:scheme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rmAutofit/>
          </a:bodyPr>
          <a:p>
            <a:pPr lvl="0" algn="ctr">
              <a:buClrTx/>
              <a:buSzTx/>
              <a:buFontTx/>
            </a:pPr>
            <a:r>
              <a:rPr lang="zh-CN" altLang="en-US"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场景感知</a:t>
            </a:r>
            <a:endParaRPr lang="zh-CN" altLang="en-US" sz="12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>
              <a:buClrTx/>
              <a:buSzTx/>
              <a:buFontTx/>
            </a:pPr>
            <a:r>
              <a:rPr lang="zh-CN" altLang="en-US" sz="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全场景理解分析</a:t>
            </a:r>
            <a:endParaRPr lang="zh-CN" altLang="en-US" sz="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>
              <a:buClrTx/>
              <a:buSzTx/>
              <a:buFontTx/>
            </a:pPr>
            <a:r>
              <a:rPr lang="zh-CN" altLang="en-US" sz="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无需画框精准解读</a:t>
            </a:r>
            <a:endParaRPr lang="zh-CN" altLang="en-US" sz="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18" name="矩形 217"/>
          <p:cNvSpPr/>
          <p:nvPr/>
        </p:nvSpPr>
        <p:spPr>
          <a:xfrm>
            <a:off x="537210" y="1464310"/>
            <a:ext cx="760730" cy="807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感知识别</a:t>
            </a:r>
            <a:endParaRPr lang="zh-CN" altLang="en-US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pic>
        <p:nvPicPr>
          <p:cNvPr id="220" name="图片 219" descr="C:/Users/王胜俊/Desktop/图片4.png图片4"/>
          <p:cNvPicPr>
            <a:picLocks noChangeAspect="1"/>
          </p:cNvPicPr>
          <p:nvPr/>
        </p:nvPicPr>
        <p:blipFill>
          <a:blip r:embed="rId11"/>
          <a:srcRect t="1462" b="1462"/>
          <a:stretch>
            <a:fillRect/>
          </a:stretch>
        </p:blipFill>
        <p:spPr>
          <a:xfrm>
            <a:off x="8540115" y="3377565"/>
            <a:ext cx="1411605" cy="770890"/>
          </a:xfrm>
          <a:prstGeom prst="roundRect">
            <a:avLst/>
          </a:prstGeom>
          <a:blipFill rotWithShape="0">
            <a:blip r:embed="rId12"/>
            <a:stretch>
              <a:fillRect/>
            </a:stretch>
          </a:blipFill>
          <a:ln>
            <a:noFill/>
          </a:ln>
          <a:effectLst>
            <a:outerShdw blurRad="203200" dist="76200" dir="2160000" algn="tr" rotWithShape="0">
              <a:schemeClr val="accent1">
                <a:alpha val="20000"/>
              </a:schemeClr>
            </a:outerShdw>
          </a:effectLst>
        </p:spPr>
      </p:pic>
      <p:sp>
        <p:nvSpPr>
          <p:cNvPr id="221" name="箭头: 五边形 85"/>
          <p:cNvSpPr/>
          <p:nvPr>
            <p:custDataLst>
              <p:tags r:id="rId13"/>
            </p:custDataLst>
          </p:nvPr>
        </p:nvSpPr>
        <p:spPr>
          <a:xfrm>
            <a:off x="8540115" y="3362960"/>
            <a:ext cx="1411605" cy="786130"/>
          </a:xfrm>
          <a:prstGeom prst="round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  <a:effectLst>
            <a:outerShdw blurRad="203200" dist="76200" dir="2160000" algn="tr" rotWithShape="0">
              <a:schemeClr val="accent1">
                <a:alpha val="20000"/>
              </a:scheme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rmAutofit/>
          </a:bodyPr>
          <a:p>
            <a:pPr lvl="0" algn="ctr">
              <a:buClrTx/>
              <a:buSzTx/>
              <a:buFontTx/>
            </a:pPr>
            <a:r>
              <a:rPr lang="zh-CN" altLang="en-US"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事件派发</a:t>
            </a:r>
            <a:endParaRPr lang="zh-CN" altLang="en-US" sz="12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>
              <a:buClrTx/>
              <a:buSzTx/>
              <a:buFontTx/>
            </a:pPr>
            <a:endParaRPr lang="zh-CN" altLang="en-US" sz="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>
              <a:buClrTx/>
              <a:buSzTx/>
              <a:buFontTx/>
            </a:pPr>
            <a:r>
              <a:rPr lang="zh-CN" altLang="en-US" sz="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商户关联事件推送</a:t>
            </a:r>
            <a:endParaRPr lang="zh-CN" altLang="en-US" sz="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25" name="燕尾形 224"/>
          <p:cNvSpPr/>
          <p:nvPr/>
        </p:nvSpPr>
        <p:spPr>
          <a:xfrm rot="5400000">
            <a:off x="5636895" y="4522470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26" name="燕尾形 225"/>
          <p:cNvSpPr/>
          <p:nvPr/>
        </p:nvSpPr>
        <p:spPr>
          <a:xfrm rot="6480000">
            <a:off x="1475740" y="4126865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180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27" name="燕尾形 226"/>
          <p:cNvSpPr/>
          <p:nvPr/>
        </p:nvSpPr>
        <p:spPr>
          <a:xfrm rot="4440000">
            <a:off x="1396365" y="5161915"/>
            <a:ext cx="144145" cy="170180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180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28" name="燕尾形 227"/>
          <p:cNvSpPr/>
          <p:nvPr/>
        </p:nvSpPr>
        <p:spPr>
          <a:xfrm>
            <a:off x="7275195" y="5561330"/>
            <a:ext cx="184785" cy="201295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1800" b="1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30" name="燕尾形 229"/>
          <p:cNvSpPr/>
          <p:nvPr/>
        </p:nvSpPr>
        <p:spPr>
          <a:xfrm>
            <a:off x="4399915" y="5615305"/>
            <a:ext cx="184785" cy="201295"/>
          </a:xfrm>
          <a:prstGeom prst="chevron">
            <a:avLst/>
          </a:prstGeom>
          <a:gradFill>
            <a:gsLst>
              <a:gs pos="100000">
                <a:schemeClr val="bg1">
                  <a:lumMod val="95000"/>
                  <a:alpha val="14000"/>
                </a:schemeClr>
              </a:gs>
              <a:gs pos="0">
                <a:schemeClr val="bg1">
                  <a:alpha val="42000"/>
                </a:schemeClr>
              </a:gs>
            </a:gsLst>
            <a:lin ang="10800000" scaled="0"/>
          </a:gra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1800" b="1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231" name="图片 230" descr="C:/Users/王胜俊/Desktop/图片3.png图片3"/>
          <p:cNvPicPr>
            <a:picLocks noChangeAspect="1"/>
          </p:cNvPicPr>
          <p:nvPr/>
        </p:nvPicPr>
        <p:blipFill>
          <a:blip r:embed="rId9"/>
          <a:srcRect t="11390" b="11390"/>
          <a:stretch>
            <a:fillRect/>
          </a:stretch>
        </p:blipFill>
        <p:spPr>
          <a:xfrm>
            <a:off x="5624195" y="3392805"/>
            <a:ext cx="1466215" cy="754380"/>
          </a:xfrm>
          <a:prstGeom prst="roundRect">
            <a:avLst/>
          </a:prstGeom>
          <a:blipFill rotWithShape="0">
            <a:blip r:embed="rId12"/>
            <a:stretch>
              <a:fillRect/>
            </a:stretch>
          </a:blipFill>
          <a:ln>
            <a:noFill/>
          </a:ln>
          <a:effectLst>
            <a:outerShdw blurRad="203200" dist="76200" dir="2160000" algn="tr" rotWithShape="0">
              <a:schemeClr val="accent1">
                <a:alpha val="20000"/>
              </a:schemeClr>
            </a:outerShdw>
          </a:effectLst>
        </p:spPr>
      </p:pic>
      <p:pic>
        <p:nvPicPr>
          <p:cNvPr id="232" name="图片 231" descr="C:/Users/王胜俊/Desktop/图片4.png图片4"/>
          <p:cNvPicPr>
            <a:picLocks noChangeAspect="1"/>
          </p:cNvPicPr>
          <p:nvPr/>
        </p:nvPicPr>
        <p:blipFill>
          <a:blip r:embed="rId11"/>
          <a:srcRect t="3174" b="3174"/>
          <a:stretch>
            <a:fillRect/>
          </a:stretch>
        </p:blipFill>
        <p:spPr>
          <a:xfrm>
            <a:off x="2775585" y="3331210"/>
            <a:ext cx="1430655" cy="753745"/>
          </a:xfrm>
          <a:prstGeom prst="roundRect">
            <a:avLst/>
          </a:prstGeom>
          <a:blipFill rotWithShape="0">
            <a:blip r:embed="rId12"/>
            <a:stretch>
              <a:fillRect/>
            </a:stretch>
          </a:blipFill>
          <a:ln>
            <a:noFill/>
          </a:ln>
          <a:effectLst>
            <a:outerShdw blurRad="203200" dist="76200" dir="2160000" algn="tr" rotWithShape="0">
              <a:schemeClr val="accent1">
                <a:alpha val="20000"/>
              </a:schemeClr>
            </a:outerShdw>
          </a:effectLst>
        </p:spPr>
      </p:pic>
      <p:pic>
        <p:nvPicPr>
          <p:cNvPr id="234" name="图片 233" descr="C:/Users/王胜俊/Desktop/f436f3e0b494e076ffb8d462e0f8784.pngf436f3e0b494e076ffb8d462e0f8784"/>
          <p:cNvPicPr>
            <a:picLocks noChangeAspect="1"/>
          </p:cNvPicPr>
          <p:nvPr/>
        </p:nvPicPr>
        <p:blipFill>
          <a:blip r:embed="rId14"/>
          <a:srcRect t="6179" b="6179"/>
          <a:stretch>
            <a:fillRect/>
          </a:stretch>
        </p:blipFill>
        <p:spPr>
          <a:xfrm>
            <a:off x="8549005" y="5271135"/>
            <a:ext cx="1402715" cy="761365"/>
          </a:xfrm>
          <a:prstGeom prst="roundRect">
            <a:avLst/>
          </a:prstGeom>
          <a:blipFill rotWithShape="0">
            <a:blip r:embed="rId12"/>
            <a:stretch>
              <a:fillRect/>
            </a:stretch>
          </a:blipFill>
          <a:ln>
            <a:noFill/>
          </a:ln>
          <a:effectLst>
            <a:outerShdw blurRad="203200" dist="76200" dir="2160000" algn="tr" rotWithShape="0">
              <a:schemeClr val="accent1">
                <a:alpha val="20000"/>
              </a:schemeClr>
            </a:outerShdw>
          </a:effectLst>
        </p:spPr>
      </p:pic>
      <p:pic>
        <p:nvPicPr>
          <p:cNvPr id="235" name="图片 234" descr="C:/Users/王胜俊/Desktop/图片6.png图片6"/>
          <p:cNvPicPr>
            <a:picLocks noChangeAspect="1"/>
          </p:cNvPicPr>
          <p:nvPr/>
        </p:nvPicPr>
        <p:blipFill>
          <a:blip r:embed="rId15"/>
          <a:srcRect l="2597" r="2597"/>
          <a:stretch>
            <a:fillRect/>
          </a:stretch>
        </p:blipFill>
        <p:spPr>
          <a:xfrm>
            <a:off x="5629910" y="5309235"/>
            <a:ext cx="1450975" cy="770255"/>
          </a:xfrm>
          <a:prstGeom prst="roundRect">
            <a:avLst/>
          </a:prstGeom>
          <a:blipFill rotWithShape="0">
            <a:blip r:embed="rId12"/>
            <a:stretch>
              <a:fillRect/>
            </a:stretch>
          </a:blipFill>
          <a:ln>
            <a:noFill/>
          </a:ln>
          <a:effectLst>
            <a:outerShdw blurRad="203200" dist="76200" dir="2160000" algn="tr" rotWithShape="0">
              <a:schemeClr val="accent1">
                <a:alpha val="20000"/>
              </a:schemeClr>
            </a:outerShdw>
          </a:effectLst>
        </p:spPr>
      </p:pic>
      <p:sp>
        <p:nvSpPr>
          <p:cNvPr id="238" name="箭头: 五边形 85"/>
          <p:cNvSpPr/>
          <p:nvPr>
            <p:custDataLst>
              <p:tags r:id="rId16"/>
            </p:custDataLst>
          </p:nvPr>
        </p:nvSpPr>
        <p:spPr>
          <a:xfrm>
            <a:off x="8549640" y="5255895"/>
            <a:ext cx="1402715" cy="794385"/>
          </a:xfrm>
          <a:prstGeom prst="round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  <a:effectLst>
            <a:outerShdw blurRad="203200" dist="76200" dir="2160000" algn="tr" rotWithShape="0">
              <a:schemeClr val="accent1">
                <a:alpha val="20000"/>
              </a:scheme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rmAutofit/>
          </a:bodyPr>
          <a:p>
            <a:pPr lvl="0" algn="ctr">
              <a:buClrTx/>
              <a:buSzTx/>
              <a:buFontTx/>
            </a:pPr>
            <a:r>
              <a:rPr lang="zh-CN" altLang="en-US"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智能知识库</a:t>
            </a:r>
            <a:endParaRPr lang="zh-CN" altLang="en-US" sz="12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>
              <a:buClrTx/>
              <a:buSzTx/>
              <a:buFontTx/>
            </a:pPr>
            <a:r>
              <a:rPr lang="zh-CN" altLang="en-US" sz="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业务知识问答</a:t>
            </a:r>
            <a:endParaRPr lang="zh-CN" altLang="en-US" sz="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>
              <a:buClrTx/>
              <a:buSzTx/>
              <a:buFontTx/>
            </a:pPr>
            <a:r>
              <a:rPr lang="zh-CN" altLang="en-US" sz="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办事导引</a:t>
            </a:r>
            <a:endParaRPr lang="zh-CN" altLang="en-US" sz="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39" name="箭头: 五边形 85"/>
          <p:cNvSpPr/>
          <p:nvPr>
            <p:custDataLst>
              <p:tags r:id="rId17"/>
            </p:custDataLst>
          </p:nvPr>
        </p:nvSpPr>
        <p:spPr>
          <a:xfrm>
            <a:off x="5629275" y="5309235"/>
            <a:ext cx="1452245" cy="785495"/>
          </a:xfrm>
          <a:prstGeom prst="round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  <a:effectLst>
            <a:outerShdw blurRad="203200" dist="76200" dir="2160000" algn="tr" rotWithShape="0">
              <a:schemeClr val="accent1">
                <a:alpha val="20000"/>
              </a:scheme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rmAutofit/>
          </a:bodyPr>
          <a:p>
            <a:pPr lvl="0" algn="ctr">
              <a:buClrTx/>
              <a:buSzTx/>
              <a:buFontTx/>
            </a:pPr>
            <a:r>
              <a:rPr lang="zh-CN" altLang="en-US"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动态大屏</a:t>
            </a:r>
            <a:endParaRPr lang="zh-CN" altLang="en-US" sz="12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>
              <a:buClrTx/>
              <a:buSzTx/>
              <a:buFontTx/>
            </a:pPr>
            <a:r>
              <a:rPr lang="zh-CN" altLang="en-US" sz="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随时问随时答</a:t>
            </a:r>
            <a:endParaRPr lang="zh-CN" altLang="en-US" sz="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>
              <a:buClrTx/>
              <a:buSzTx/>
              <a:buFontTx/>
            </a:pPr>
            <a:r>
              <a:rPr lang="zh-CN" altLang="en-US" sz="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灵活洞察、动态生</a:t>
            </a:r>
            <a:r>
              <a:rPr lang="zh-CN" altLang="en-US" sz="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成</a:t>
            </a:r>
            <a:endParaRPr lang="zh-CN" altLang="en-US" sz="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40" name="箭头: 五边形 85"/>
          <p:cNvSpPr/>
          <p:nvPr>
            <p:custDataLst>
              <p:tags r:id="rId18"/>
            </p:custDataLst>
          </p:nvPr>
        </p:nvSpPr>
        <p:spPr>
          <a:xfrm>
            <a:off x="5624195" y="3394075"/>
            <a:ext cx="1466850" cy="754380"/>
          </a:xfrm>
          <a:prstGeom prst="round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  <a:effectLst>
            <a:outerShdw blurRad="203200" dist="76200" dir="2160000" algn="tr" rotWithShape="0">
              <a:schemeClr val="accent1">
                <a:alpha val="20000"/>
              </a:scheme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rmAutofit/>
          </a:bodyPr>
          <a:p>
            <a:pPr lvl="0" algn="ctr">
              <a:buClrTx/>
              <a:buSzTx/>
              <a:buFontTx/>
            </a:pPr>
            <a:r>
              <a:rPr lang="zh-CN" altLang="en-US"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事件处置</a:t>
            </a:r>
            <a:endParaRPr lang="zh-CN" altLang="en-US" sz="12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>
              <a:buClrTx/>
              <a:buSzTx/>
              <a:buFontTx/>
            </a:pPr>
            <a:r>
              <a:rPr lang="zh-CN" altLang="en-US" sz="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执法规范指导书</a:t>
            </a:r>
            <a:endParaRPr lang="zh-CN" altLang="en-US" sz="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>
              <a:buClrTx/>
              <a:buSzTx/>
              <a:buFontTx/>
            </a:pPr>
            <a:r>
              <a:rPr lang="zh-CN" altLang="en-US" sz="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辅助执法语音提示</a:t>
            </a:r>
            <a:endParaRPr lang="zh-CN" altLang="en-US" sz="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cxnSp>
        <p:nvCxnSpPr>
          <p:cNvPr id="245" name="直接连接符 244"/>
          <p:cNvCxnSpPr/>
          <p:nvPr>
            <p:custDataLst>
              <p:tags r:id="rId19"/>
            </p:custDataLst>
          </p:nvPr>
        </p:nvCxnSpPr>
        <p:spPr>
          <a:xfrm>
            <a:off x="5550535" y="4977130"/>
            <a:ext cx="0" cy="757555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</a:ln>
          <a:scene3d>
            <a:camera prst="orthographicFront"/>
            <a:lightRig rig="contrasting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6" name="矩形: 剪去单角 39"/>
          <p:cNvSpPr/>
          <p:nvPr>
            <p:custDataLst>
              <p:tags r:id="rId20"/>
            </p:custDataLst>
          </p:nvPr>
        </p:nvSpPr>
        <p:spPr>
          <a:xfrm>
            <a:off x="5550535" y="4869180"/>
            <a:ext cx="1478280" cy="335915"/>
          </a:xfrm>
          <a:prstGeom prst="snip1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</a:ln>
          <a:scene3d>
            <a:camera prst="orthographicFront"/>
            <a:lightRig rig="contrasting" dir="t"/>
          </a:scene3d>
        </p:spPr>
        <p:txBody>
          <a:bodyPr vert="horz" wrap="square" lIns="0" tIns="45712" rIns="91425" bIns="45712" numCol="1" anchor="ctr" anchorCtr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Tx/>
              <a:buSzTx/>
              <a:buFontTx/>
            </a:pP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大模型动态大屏</a:t>
            </a:r>
            <a:endParaRPr lang="zh-CN" altLang="en-US" sz="10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cxnSp>
        <p:nvCxnSpPr>
          <p:cNvPr id="247" name="直接连接符 246"/>
          <p:cNvCxnSpPr/>
          <p:nvPr>
            <p:custDataLst>
              <p:tags r:id="rId21"/>
            </p:custDataLst>
          </p:nvPr>
        </p:nvCxnSpPr>
        <p:spPr>
          <a:xfrm>
            <a:off x="5563235" y="3093720"/>
            <a:ext cx="0" cy="757555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  <a:scene3d>
            <a:camera prst="orthographicFront"/>
            <a:lightRig rig="contrasting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48" name="矩形: 剪去单角 39"/>
          <p:cNvSpPr/>
          <p:nvPr>
            <p:custDataLst>
              <p:tags r:id="rId22"/>
            </p:custDataLst>
          </p:nvPr>
        </p:nvSpPr>
        <p:spPr>
          <a:xfrm>
            <a:off x="5563235" y="2985770"/>
            <a:ext cx="1478280" cy="335915"/>
          </a:xfrm>
          <a:prstGeom prst="snip1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scene3d>
            <a:camera prst="orthographicFront"/>
            <a:lightRig rig="contrasting" dir="t"/>
          </a:scene3d>
        </p:spPr>
        <p:txBody>
          <a:bodyPr vert="horz" wrap="square" lIns="0" tIns="45712" rIns="91425" bIns="45712" numCol="1" anchor="ctr" anchorCtr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Tx/>
              <a:buSzTx/>
              <a:buFontTx/>
            </a:pP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大模型处置指导</a:t>
            </a:r>
            <a:endParaRPr lang="zh-CN" altLang="en-US" sz="10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cxnSp>
        <p:nvCxnSpPr>
          <p:cNvPr id="249" name="直接连接符 248"/>
          <p:cNvCxnSpPr/>
          <p:nvPr>
            <p:custDataLst>
              <p:tags r:id="rId23"/>
            </p:custDataLst>
          </p:nvPr>
        </p:nvCxnSpPr>
        <p:spPr>
          <a:xfrm>
            <a:off x="2739390" y="5027930"/>
            <a:ext cx="0" cy="757555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</a:ln>
          <a:scene3d>
            <a:camera prst="orthographicFront"/>
            <a:lightRig rig="contrasting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0" name="矩形: 剪去单角 39"/>
          <p:cNvSpPr/>
          <p:nvPr>
            <p:custDataLst>
              <p:tags r:id="rId24"/>
            </p:custDataLst>
          </p:nvPr>
        </p:nvSpPr>
        <p:spPr>
          <a:xfrm>
            <a:off x="2739390" y="4914900"/>
            <a:ext cx="1478280" cy="340995"/>
          </a:xfrm>
          <a:prstGeom prst="snip1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</a:ln>
          <a:scene3d>
            <a:camera prst="orthographicFront"/>
            <a:lightRig rig="contrasting" dir="t"/>
          </a:scene3d>
        </p:spPr>
        <p:txBody>
          <a:bodyPr vert="horz" wrap="square" lIns="0" tIns="45712" rIns="91425" bIns="45712" numCol="1" anchor="ctr" anchorCtr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Tx/>
              <a:buSzTx/>
              <a:buFontTx/>
            </a:pP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大模型报告生成</a:t>
            </a:r>
            <a:endParaRPr lang="zh-CN" altLang="en-US" sz="10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cxnSp>
        <p:nvCxnSpPr>
          <p:cNvPr id="251" name="直接连接符 250"/>
          <p:cNvCxnSpPr/>
          <p:nvPr>
            <p:custDataLst>
              <p:tags r:id="rId25"/>
            </p:custDataLst>
          </p:nvPr>
        </p:nvCxnSpPr>
        <p:spPr>
          <a:xfrm>
            <a:off x="5562600" y="1202690"/>
            <a:ext cx="0" cy="757555"/>
          </a:xfrm>
          <a:prstGeom prst="line">
            <a:avLst/>
          </a:prstGeom>
          <a:ln w="12700">
            <a:solidFill>
              <a:schemeClr val="bg1">
                <a:lumMod val="85000"/>
              </a:schemeClr>
            </a:solidFill>
          </a:ln>
          <a:scene3d>
            <a:camera prst="orthographicFront"/>
            <a:lightRig rig="contrasting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2" name="矩形: 剪去单角 39"/>
          <p:cNvSpPr/>
          <p:nvPr>
            <p:custDataLst>
              <p:tags r:id="rId26"/>
            </p:custDataLst>
          </p:nvPr>
        </p:nvSpPr>
        <p:spPr>
          <a:xfrm>
            <a:off x="5562600" y="1113790"/>
            <a:ext cx="1478280" cy="316865"/>
          </a:xfrm>
          <a:prstGeom prst="snip1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scene3d>
            <a:camera prst="orthographicFront"/>
            <a:lightRig rig="contrasting" dir="t"/>
          </a:scene3d>
        </p:spPr>
        <p:txBody>
          <a:bodyPr vert="horz" wrap="square" lIns="0" tIns="45712" rIns="91425" bIns="45712" numCol="1" anchor="ctr" anchorCtr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Tx/>
              <a:buSzTx/>
              <a:buFontTx/>
            </a:pP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大模型任务设置</a:t>
            </a:r>
            <a:endParaRPr lang="zh-CN" altLang="en-US" sz="10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cxnSp>
        <p:nvCxnSpPr>
          <p:cNvPr id="257" name="直接连接符 256"/>
          <p:cNvCxnSpPr/>
          <p:nvPr>
            <p:custDataLst>
              <p:tags r:id="rId27"/>
            </p:custDataLst>
          </p:nvPr>
        </p:nvCxnSpPr>
        <p:spPr>
          <a:xfrm>
            <a:off x="8491220" y="4960620"/>
            <a:ext cx="0" cy="757555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</a:ln>
          <a:scene3d>
            <a:camera prst="orthographicFront"/>
            <a:lightRig rig="contrasting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8" name="矩形: 剪去单角 39"/>
          <p:cNvSpPr/>
          <p:nvPr>
            <p:custDataLst>
              <p:tags r:id="rId28"/>
            </p:custDataLst>
          </p:nvPr>
        </p:nvSpPr>
        <p:spPr>
          <a:xfrm>
            <a:off x="8491220" y="4852670"/>
            <a:ext cx="1536065" cy="335915"/>
          </a:xfrm>
          <a:prstGeom prst="snip1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</a:ln>
          <a:scene3d>
            <a:camera prst="orthographicFront"/>
            <a:lightRig rig="contrasting" dir="t"/>
          </a:scene3d>
        </p:spPr>
        <p:txBody>
          <a:bodyPr vert="horz" wrap="square" lIns="0" tIns="45712" rIns="91425" bIns="45712" numCol="1" anchor="ctr" anchorCtr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Tx/>
              <a:buSzTx/>
              <a:buFontTx/>
            </a:pP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大模型业务咨询</a:t>
            </a:r>
            <a:endParaRPr lang="zh-CN" altLang="en-US" sz="10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cxnSp>
        <p:nvCxnSpPr>
          <p:cNvPr id="261" name="直接连接符 260"/>
          <p:cNvCxnSpPr/>
          <p:nvPr>
            <p:custDataLst>
              <p:tags r:id="rId29"/>
            </p:custDataLst>
          </p:nvPr>
        </p:nvCxnSpPr>
        <p:spPr>
          <a:xfrm>
            <a:off x="8493125" y="1236345"/>
            <a:ext cx="0" cy="757555"/>
          </a:xfrm>
          <a:prstGeom prst="line">
            <a:avLst/>
          </a:prstGeom>
          <a:ln w="12700">
            <a:solidFill>
              <a:schemeClr val="tx2">
                <a:lumMod val="60000"/>
                <a:lumOff val="40000"/>
              </a:schemeClr>
            </a:solidFill>
          </a:ln>
          <a:scene3d>
            <a:camera prst="orthographicFront"/>
            <a:lightRig rig="contrasting" dir="t"/>
          </a:scene3d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62" name="矩形: 剪去单角 39"/>
          <p:cNvSpPr/>
          <p:nvPr>
            <p:custDataLst>
              <p:tags r:id="rId30"/>
            </p:custDataLst>
          </p:nvPr>
        </p:nvSpPr>
        <p:spPr>
          <a:xfrm>
            <a:off x="8493125" y="1113790"/>
            <a:ext cx="1478280" cy="350520"/>
          </a:xfrm>
          <a:prstGeom prst="snip1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</a:ln>
          <a:scene3d>
            <a:camera prst="orthographicFront"/>
            <a:lightRig rig="contrasting" dir="t"/>
          </a:scene3d>
        </p:spPr>
        <p:txBody>
          <a:bodyPr vert="horz" wrap="square" lIns="0" tIns="45712" rIns="91425" bIns="45712" numCol="1" anchor="ctr" anchorCtr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Tx/>
              <a:buSzTx/>
              <a:buFontTx/>
            </a:pP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大模型事件审核</a:t>
            </a:r>
            <a:endParaRPr lang="zh-CN" altLang="en-US" sz="10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537210" y="3228975"/>
            <a:ext cx="760730" cy="807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分派处置</a:t>
            </a:r>
            <a:endParaRPr lang="zh-CN" altLang="en-US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3" name="矩形 2"/>
          <p:cNvSpPr/>
          <p:nvPr/>
        </p:nvSpPr>
        <p:spPr>
          <a:xfrm>
            <a:off x="537210" y="5039360"/>
            <a:ext cx="760730" cy="807085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lumMod val="75000"/>
            </a:schemeClr>
          </a:lnRef>
          <a:fillRef idx="1">
            <a:schemeClr val="accent1"/>
          </a:fillRef>
          <a:effectRef idx="0">
            <a:srgbClr val="FFFFFF"/>
          </a:effectRef>
          <a:fontRef idx="minor">
            <a:schemeClr val="lt1"/>
          </a:fontRef>
        </p:style>
        <p:txBody>
          <a:bodyPr rtlCol="0" anchor="ctr"/>
          <a:p>
            <a:pPr algn="ctr"/>
            <a:r>
              <a:rPr lang="zh-CN" altLang="en-US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决策</a:t>
            </a:r>
            <a:endParaRPr lang="zh-CN" altLang="en-US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  <a:p>
            <a:pPr algn="ctr"/>
            <a:r>
              <a:rPr lang="zh-CN" altLang="en-US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rPr>
              <a:t>辅助</a:t>
            </a:r>
            <a:endParaRPr lang="zh-CN" altLang="en-US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</a:endParaRPr>
          </a:p>
        </p:txBody>
      </p:sp>
      <p:sp>
        <p:nvSpPr>
          <p:cNvPr id="4" name="箭头: 五边形 85"/>
          <p:cNvSpPr/>
          <p:nvPr>
            <p:custDataLst>
              <p:tags r:id="rId31"/>
            </p:custDataLst>
          </p:nvPr>
        </p:nvSpPr>
        <p:spPr>
          <a:xfrm>
            <a:off x="2775585" y="3321685"/>
            <a:ext cx="1423670" cy="754380"/>
          </a:xfrm>
          <a:prstGeom prst="round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  <a:effectLst>
            <a:outerShdw blurRad="203200" dist="76200" dir="2160000" algn="tr" rotWithShape="0">
              <a:schemeClr val="accent1">
                <a:alpha val="20000"/>
              </a:scheme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rmAutofit/>
          </a:bodyPr>
          <a:p>
            <a:pPr lvl="0" algn="ctr">
              <a:buClrTx/>
              <a:buSzTx/>
              <a:buFontTx/>
            </a:pPr>
            <a:r>
              <a:rPr lang="zh-CN" altLang="en-US"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事件复核</a:t>
            </a:r>
            <a:endParaRPr lang="zh-CN" altLang="en-US" sz="12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>
              <a:buClrTx/>
              <a:buSzTx/>
              <a:buFontTx/>
            </a:pPr>
            <a:r>
              <a:rPr lang="zh-CN" altLang="en-US" sz="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处置结果自动分类</a:t>
            </a:r>
            <a:endParaRPr lang="zh-CN" altLang="en-US" sz="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pic>
        <p:nvPicPr>
          <p:cNvPr id="7" name="图片 6"/>
          <p:cNvPicPr>
            <a:picLocks noChangeAspect="1"/>
          </p:cNvPicPr>
          <p:nvPr/>
        </p:nvPicPr>
        <p:blipFill>
          <a:blip r:embed="rId32"/>
          <a:stretch>
            <a:fillRect/>
          </a:stretch>
        </p:blipFill>
        <p:spPr>
          <a:xfrm>
            <a:off x="2775585" y="5342255"/>
            <a:ext cx="1430655" cy="770255"/>
          </a:xfrm>
          <a:prstGeom prst="roundRect">
            <a:avLst/>
          </a:prstGeom>
          <a:blipFill rotWithShape="0">
            <a:blip r:embed="rId12"/>
            <a:stretch>
              <a:fillRect/>
            </a:stretch>
          </a:blipFill>
          <a:ln>
            <a:noFill/>
          </a:ln>
          <a:effectLst>
            <a:outerShdw blurRad="203200" dist="76200" dir="2160000" algn="tr" rotWithShape="0">
              <a:schemeClr val="accent1">
                <a:alpha val="20000"/>
              </a:schemeClr>
            </a:outerShdw>
          </a:effectLst>
        </p:spPr>
      </p:pic>
      <p:sp>
        <p:nvSpPr>
          <p:cNvPr id="11" name="箭头: 五边形 85"/>
          <p:cNvSpPr/>
          <p:nvPr>
            <p:custDataLst>
              <p:tags r:id="rId33"/>
            </p:custDataLst>
          </p:nvPr>
        </p:nvSpPr>
        <p:spPr>
          <a:xfrm>
            <a:off x="2775585" y="5341620"/>
            <a:ext cx="1423670" cy="779780"/>
          </a:xfrm>
          <a:prstGeom prst="roundRect">
            <a:avLst/>
          </a:prstGeom>
          <a:solidFill>
            <a:schemeClr val="tx2">
              <a:lumMod val="20000"/>
              <a:lumOff val="80000"/>
              <a:alpha val="50000"/>
            </a:schemeClr>
          </a:solidFill>
          <a:ln>
            <a:noFill/>
          </a:ln>
          <a:effectLst>
            <a:outerShdw blurRad="203200" dist="76200" dir="2160000" algn="tr" rotWithShape="0">
              <a:schemeClr val="accent1">
                <a:alpha val="20000"/>
              </a:schemeClr>
            </a:outerShdw>
          </a:effectLst>
        </p:spPr>
        <p:style>
          <a:lnRef idx="1">
            <a:schemeClr val="accent1"/>
          </a:lnRef>
          <a:fillRef idx="2">
            <a:schemeClr val="accent1"/>
          </a:fillRef>
          <a:effectRef idx="1">
            <a:schemeClr val="accent1"/>
          </a:effectRef>
          <a:fontRef idx="minor">
            <a:schemeClr val="dk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rmAutofit/>
          </a:bodyPr>
          <a:p>
            <a:pPr lvl="0" algn="ctr">
              <a:buClrTx/>
              <a:buSzTx/>
              <a:buFontTx/>
            </a:pPr>
            <a:r>
              <a:rPr lang="zh-CN" altLang="en-US" sz="12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报告生成</a:t>
            </a:r>
            <a:endParaRPr lang="zh-CN" altLang="en-US" sz="12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>
              <a:buClrTx/>
              <a:buSzTx/>
              <a:buFontTx/>
            </a:pPr>
            <a:r>
              <a:rPr lang="zh-CN" altLang="en-US" sz="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日报、周报、月报</a:t>
            </a:r>
            <a:endParaRPr lang="zh-CN" altLang="en-US" sz="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  <a:p>
            <a:pPr lvl="0" algn="ctr">
              <a:buClrTx/>
              <a:buSzTx/>
              <a:buFontTx/>
            </a:pPr>
            <a:r>
              <a:rPr lang="zh-CN" altLang="en-US" sz="800" b="1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lt"/>
              </a:rPr>
              <a:t>图文报表、文档报告</a:t>
            </a:r>
            <a:endParaRPr lang="zh-CN" altLang="en-US" sz="800" b="1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+mn-lt"/>
            </a:endParaRPr>
          </a:p>
        </p:txBody>
      </p:sp>
      <p:sp>
        <p:nvSpPr>
          <p:cNvPr id="21" name="矩形: 剪去单角 39"/>
          <p:cNvSpPr/>
          <p:nvPr>
            <p:custDataLst>
              <p:tags r:id="rId34"/>
            </p:custDataLst>
          </p:nvPr>
        </p:nvSpPr>
        <p:spPr>
          <a:xfrm>
            <a:off x="4690745" y="6485890"/>
            <a:ext cx="1356995" cy="246380"/>
          </a:xfrm>
          <a:prstGeom prst="snip1Rect">
            <a:avLst/>
          </a:prstGeom>
          <a:solidFill>
            <a:schemeClr val="tx2">
              <a:lumMod val="60000"/>
              <a:lumOff val="40000"/>
            </a:schemeClr>
          </a:solidFill>
          <a:ln w="12700">
            <a:noFill/>
          </a:ln>
          <a:scene3d>
            <a:camera prst="orthographicFront"/>
            <a:lightRig rig="contrasting" dir="t"/>
          </a:scene3d>
        </p:spPr>
        <p:txBody>
          <a:bodyPr vert="horz" wrap="square" lIns="0" tIns="45712" rIns="91425" bIns="45712" numCol="1" anchor="ctr" anchorCtr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Tx/>
              <a:buSzTx/>
              <a:buFontTx/>
            </a:pP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现有能力</a:t>
            </a:r>
            <a:endParaRPr lang="zh-CN" altLang="en-US" sz="10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3" name="矩形: 剪去单角 39"/>
          <p:cNvSpPr/>
          <p:nvPr>
            <p:custDataLst>
              <p:tags r:id="rId35"/>
            </p:custDataLst>
          </p:nvPr>
        </p:nvSpPr>
        <p:spPr>
          <a:xfrm>
            <a:off x="6688455" y="6485890"/>
            <a:ext cx="1356995" cy="246380"/>
          </a:xfrm>
          <a:prstGeom prst="snip1Rect">
            <a:avLst/>
          </a:prstGeom>
          <a:solidFill>
            <a:schemeClr val="bg1">
              <a:lumMod val="85000"/>
            </a:schemeClr>
          </a:solidFill>
          <a:ln w="12700">
            <a:noFill/>
          </a:ln>
          <a:scene3d>
            <a:camera prst="orthographicFront"/>
            <a:lightRig rig="contrasting" dir="t"/>
          </a:scene3d>
        </p:spPr>
        <p:txBody>
          <a:bodyPr vert="horz" wrap="square" lIns="0" tIns="45712" rIns="91425" bIns="45712" numCol="1" anchor="ctr" anchorCtr="0" compatLnSpc="1">
            <a:noAutofit/>
          </a:bodyPr>
          <a:lstStyle>
            <a:defPPr>
              <a:defRPr lang="en-US"/>
            </a:defPPr>
            <a:lvl1pPr marL="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4572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lvl="0" algn="ctr">
              <a:buClrTx/>
              <a:buSzTx/>
              <a:buFontTx/>
            </a:pPr>
            <a:r>
              <a:rPr lang="zh-CN" altLang="en-US" sz="100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规划能力</a:t>
            </a:r>
            <a:endParaRPr lang="zh-CN" altLang="en-US" sz="100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22" name="图片 121" descr="图片5"/>
          <p:cNvPicPr>
            <a:picLocks noChangeAspect="1"/>
          </p:cNvPicPr>
          <p:nvPr/>
        </p:nvPicPr>
        <p:blipFill>
          <a:blip r:embed="rId1"/>
          <a:stretch>
            <a:fillRect/>
          </a:stretch>
        </p:blipFill>
        <p:spPr>
          <a:xfrm>
            <a:off x="3907155" y="4746625"/>
            <a:ext cx="4151630" cy="1298575"/>
          </a:xfrm>
          <a:prstGeom prst="rect">
            <a:avLst/>
          </a:prstGeom>
        </p:spPr>
      </p:pic>
      <p:sp>
        <p:nvSpPr>
          <p:cNvPr id="123" name="文本框 122"/>
          <p:cNvSpPr txBox="1"/>
          <p:nvPr/>
        </p:nvSpPr>
        <p:spPr>
          <a:xfrm>
            <a:off x="5207000" y="5521325"/>
            <a:ext cx="1409700" cy="314960"/>
          </a:xfrm>
          <a:prstGeom prst="rect">
            <a:avLst/>
          </a:prstGeom>
          <a:noFill/>
        </p:spPr>
        <p:txBody>
          <a:bodyPr wrap="square" rtlCol="0" anchor="t">
            <a:spAutoFit/>
          </a:bodyPr>
          <a:lstStyle/>
          <a:p>
            <a:pPr marL="12700" algn="ctr" rtl="0" eaLnBrk="0">
              <a:lnSpc>
                <a:spcPct val="91000"/>
              </a:lnSpc>
            </a:pPr>
            <a:r>
              <a:rPr lang="en-US" sz="1600" b="1" kern="0" spc="-10" dirty="0">
                <a:solidFill>
                  <a:srgbClr val="FFFFFF">
                    <a:alpha val="10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VIT</a:t>
            </a:r>
            <a:r>
              <a:rPr sz="1600" b="1" kern="0" spc="-10" dirty="0">
                <a:solidFill>
                  <a:srgbClr val="FFFFFF">
                    <a:alpha val="100000"/>
                  </a:srgbClr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大模型</a:t>
            </a:r>
            <a:endParaRPr lang="zh-CN" altLang="en-US" sz="1600" b="1" kern="0" spc="-10" dirty="0">
              <a:solidFill>
                <a:srgbClr val="FFFFFF">
                  <a:alpha val="100000"/>
                </a:srgbClr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5" name="标题 1"/>
          <p:cNvSpPr txBox="1"/>
          <p:nvPr/>
        </p:nvSpPr>
        <p:spPr>
          <a:xfrm>
            <a:off x="533436" y="390115"/>
            <a:ext cx="10969716" cy="462021"/>
          </a:xfrm>
          <a:prstGeom prst="rect">
            <a:avLst/>
          </a:prstGeom>
        </p:spPr>
        <p:txBody>
          <a:bodyPr anchor="t" anchorCtr="0"/>
          <a:lstStyle>
            <a:lvl1pPr algn="l" defTabSz="11861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5" b="1" kern="1200">
                <a:solidFill>
                  <a:srgbClr val="99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marL="0" marR="0" lvl="0" indent="0" algn="l" defTabSz="118618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sz="2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微软雅黑" panose="020B0503020204020204" pitchFamily="34" charset="-122"/>
              </a:rPr>
              <a:t>门前四包</a:t>
            </a:r>
            <a:r>
              <a:rPr kumimoji="0" lang="zh-CN" alt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微软雅黑" panose="020B0503020204020204" pitchFamily="34" charset="-122"/>
              </a:rPr>
              <a:t>监管助手</a:t>
            </a:r>
            <a:r>
              <a:rPr kumimoji="0" lang="en-US" altLang="zh-CN" sz="2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微软雅黑" panose="020B0503020204020204" pitchFamily="34" charset="-122"/>
              </a:rPr>
              <a:t>-</a:t>
            </a:r>
            <a:r>
              <a:rPr kumimoji="0" lang="zh-CN" alt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微软雅黑" panose="020B0503020204020204" pitchFamily="34" charset="-122"/>
              </a:rPr>
              <a:t>大模型事件审核</a:t>
            </a:r>
            <a:endParaRPr kumimoji="0" lang="zh-CN" altLang="en-US" sz="2400" b="1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  <a:sym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>
            <p:custDataLst>
              <p:tags r:id="rId2"/>
            </p:custDataLst>
          </p:nvPr>
        </p:nvSpPr>
        <p:spPr>
          <a:xfrm>
            <a:off x="1534795" y="848042"/>
            <a:ext cx="9879330" cy="5835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indent="0">
              <a:buFont typeface="Arial" panose="020B0604020202020204" pitchFamily="34" charset="0"/>
              <a:buNone/>
            </a:pPr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采用小模型检测+大模型确认相结合的事件检测确认方式，小模型保证事件召回率，大模型提升识别准确率，将事件检测准确率从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80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左右</a:t>
            </a:r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提升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到</a:t>
            </a:r>
            <a:r>
              <a:rPr lang="en-US" alt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95%</a:t>
            </a:r>
            <a:r>
              <a:rPr lang="zh-CN" altLang="en-US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以上</a:t>
            </a:r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</a:rPr>
              <a:t>。</a:t>
            </a:r>
            <a:endParaRPr lang="zh-CN" sz="1600" dirty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8" name="任意多边形: 形状 8"/>
          <p:cNvSpPr/>
          <p:nvPr>
            <p:custDataLst>
              <p:tags r:id="rId3"/>
            </p:custDataLst>
          </p:nvPr>
        </p:nvSpPr>
        <p:spPr>
          <a:xfrm flipH="1">
            <a:off x="436245" y="925732"/>
            <a:ext cx="952500" cy="399294"/>
          </a:xfrm>
          <a:custGeom>
            <a:avLst/>
            <a:gdLst>
              <a:gd name="connsiteX0" fmla="*/ 1689008 w 8437547"/>
              <a:gd name="connsiteY0" fmla="*/ 0 h 3537069"/>
              <a:gd name="connsiteX1" fmla="*/ 4150928 w 8437547"/>
              <a:gd name="connsiteY1" fmla="*/ 0 h 3537069"/>
              <a:gd name="connsiteX2" fmla="*/ 8437547 w 8437547"/>
              <a:gd name="connsiteY2" fmla="*/ 0 h 3537069"/>
              <a:gd name="connsiteX3" fmla="*/ 8437547 w 8437547"/>
              <a:gd name="connsiteY3" fmla="*/ 3537069 h 3537069"/>
              <a:gd name="connsiteX4" fmla="*/ 7055047 w 8437547"/>
              <a:gd name="connsiteY4" fmla="*/ 3537069 h 3537069"/>
              <a:gd name="connsiteX5" fmla="*/ 6272315 w 8437547"/>
              <a:gd name="connsiteY5" fmla="*/ 3537069 h 3537069"/>
              <a:gd name="connsiteX6" fmla="*/ 2883202 w 8437547"/>
              <a:gd name="connsiteY6" fmla="*/ 3537069 h 3537069"/>
              <a:gd name="connsiteX7" fmla="*/ 421283 w 8437547"/>
              <a:gd name="connsiteY7" fmla="*/ 3537069 h 3537069"/>
              <a:gd name="connsiteX8" fmla="*/ 421283 w 8437547"/>
              <a:gd name="connsiteY8" fmla="*/ 3533673 h 3537069"/>
              <a:gd name="connsiteX9" fmla="*/ 413139 w 8437547"/>
              <a:gd name="connsiteY9" fmla="*/ 3533466 h 3537069"/>
              <a:gd name="connsiteX10" fmla="*/ 236274 w 8437547"/>
              <a:gd name="connsiteY10" fmla="*/ 3467159 h 3537069"/>
              <a:gd name="connsiteX11" fmla="*/ 62068 w 8437547"/>
              <a:gd name="connsiteY11" fmla="*/ 2744080 h 3537069"/>
              <a:gd name="connsiteX12" fmla="*/ 79798 w 8437547"/>
              <a:gd name="connsiteY12" fmla="*/ 2717482 h 3537069"/>
              <a:gd name="connsiteX13" fmla="*/ 1301663 w 8437547"/>
              <a:gd name="connsiteY13" fmla="*/ 306939 h 3537069"/>
              <a:gd name="connsiteX14" fmla="*/ 1303806 w 8437547"/>
              <a:gd name="connsiteY14" fmla="*/ 300535 h 3537069"/>
              <a:gd name="connsiteX15" fmla="*/ 1318668 w 8437547"/>
              <a:gd name="connsiteY15" fmla="*/ 273392 h 3537069"/>
              <a:gd name="connsiteX16" fmla="*/ 1331778 w 8437547"/>
              <a:gd name="connsiteY16" fmla="*/ 247528 h 3537069"/>
              <a:gd name="connsiteX17" fmla="*/ 1332555 w 8437547"/>
              <a:gd name="connsiteY17" fmla="*/ 248030 h 3537069"/>
              <a:gd name="connsiteX18" fmla="*/ 1351500 w 8437547"/>
              <a:gd name="connsiteY18" fmla="*/ 213428 h 3537069"/>
              <a:gd name="connsiteX19" fmla="*/ 1491727 w 8437547"/>
              <a:gd name="connsiteY19" fmla="*/ 74839 h 3537069"/>
              <a:gd name="connsiteX20" fmla="*/ 1668593 w 8437547"/>
              <a:gd name="connsiteY20" fmla="*/ 8533 h 3537069"/>
              <a:gd name="connsiteX21" fmla="*/ 1676734 w 8437547"/>
              <a:gd name="connsiteY21" fmla="*/ 8325 h 3537069"/>
              <a:gd name="connsiteX22" fmla="*/ 1676734 w 8437547"/>
              <a:gd name="connsiteY22" fmla="*/ 4931 h 3537069"/>
              <a:gd name="connsiteX23" fmla="*/ 1689008 w 8437547"/>
              <a:gd name="connsiteY23" fmla="*/ 4931 h 353706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  <a:cxn ang="0">
                <a:pos x="connsiteX15" y="connsiteY15"/>
              </a:cxn>
              <a:cxn ang="0">
                <a:pos x="connsiteX16" y="connsiteY16"/>
              </a:cxn>
              <a:cxn ang="0">
                <a:pos x="connsiteX17" y="connsiteY17"/>
              </a:cxn>
              <a:cxn ang="0">
                <a:pos x="connsiteX18" y="connsiteY18"/>
              </a:cxn>
              <a:cxn ang="0">
                <a:pos x="connsiteX19" y="connsiteY19"/>
              </a:cxn>
              <a:cxn ang="0">
                <a:pos x="connsiteX20" y="connsiteY20"/>
              </a:cxn>
              <a:cxn ang="0">
                <a:pos x="connsiteX21" y="connsiteY21"/>
              </a:cxn>
              <a:cxn ang="0">
                <a:pos x="connsiteX22" y="connsiteY22"/>
              </a:cxn>
              <a:cxn ang="0">
                <a:pos x="connsiteX23" y="connsiteY23"/>
              </a:cxn>
            </a:cxnLst>
            <a:rect l="l" t="t" r="r" b="b"/>
            <a:pathLst>
              <a:path w="8437547" h="3537069">
                <a:moveTo>
                  <a:pt x="1689008" y="0"/>
                </a:moveTo>
                <a:lnTo>
                  <a:pt x="4150928" y="0"/>
                </a:lnTo>
                <a:lnTo>
                  <a:pt x="8437547" y="0"/>
                </a:lnTo>
                <a:lnTo>
                  <a:pt x="8437547" y="3537069"/>
                </a:lnTo>
                <a:lnTo>
                  <a:pt x="7055047" y="3537069"/>
                </a:lnTo>
                <a:lnTo>
                  <a:pt x="6272315" y="3537069"/>
                </a:lnTo>
                <a:lnTo>
                  <a:pt x="2883202" y="3537069"/>
                </a:lnTo>
                <a:lnTo>
                  <a:pt x="421283" y="3537069"/>
                </a:lnTo>
                <a:lnTo>
                  <a:pt x="421283" y="3533673"/>
                </a:lnTo>
                <a:lnTo>
                  <a:pt x="413139" y="3533466"/>
                </a:lnTo>
                <a:cubicBezTo>
                  <a:pt x="352611" y="3525250"/>
                  <a:pt x="292512" y="3503500"/>
                  <a:pt x="236274" y="3467159"/>
                </a:cubicBezTo>
                <a:cubicBezTo>
                  <a:pt x="11320" y="3321801"/>
                  <a:pt x="-66675" y="2998068"/>
                  <a:pt x="62068" y="2744080"/>
                </a:cubicBezTo>
                <a:lnTo>
                  <a:pt x="79798" y="2717482"/>
                </a:lnTo>
                <a:lnTo>
                  <a:pt x="1301663" y="306939"/>
                </a:lnTo>
                <a:lnTo>
                  <a:pt x="1303806" y="300535"/>
                </a:lnTo>
                <a:lnTo>
                  <a:pt x="1318668" y="273392"/>
                </a:lnTo>
                <a:lnTo>
                  <a:pt x="1331778" y="247528"/>
                </a:lnTo>
                <a:lnTo>
                  <a:pt x="1332555" y="248030"/>
                </a:lnTo>
                <a:lnTo>
                  <a:pt x="1351500" y="213428"/>
                </a:lnTo>
                <a:cubicBezTo>
                  <a:pt x="1388435" y="158668"/>
                  <a:pt x="1435488" y="111180"/>
                  <a:pt x="1491727" y="74839"/>
                </a:cubicBezTo>
                <a:cubicBezTo>
                  <a:pt x="1547965" y="38500"/>
                  <a:pt x="1608064" y="16750"/>
                  <a:pt x="1668593" y="8533"/>
                </a:cubicBezTo>
                <a:lnTo>
                  <a:pt x="1676734" y="8325"/>
                </a:lnTo>
                <a:lnTo>
                  <a:pt x="1676734" y="4931"/>
                </a:lnTo>
                <a:lnTo>
                  <a:pt x="1689008" y="4931"/>
                </a:lnTo>
                <a:close/>
              </a:path>
            </a:pathLst>
          </a:cu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dist">
              <a:buClrTx/>
              <a:buSzTx/>
              <a:buFontTx/>
            </a:pPr>
            <a:endParaRPr lang="zh-CN" altLang="en-US">
              <a:solidFill>
                <a:schemeClr val="accent3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思源宋体 CN" panose="02020400000000000000" pitchFamily="18" charset="-122"/>
            </a:endParaRPr>
          </a:p>
        </p:txBody>
      </p:sp>
      <p:sp>
        <p:nvSpPr>
          <p:cNvPr id="29" name="Freeform 59"/>
          <p:cNvSpPr>
            <a:spLocks noChangeArrowheads="1"/>
          </p:cNvSpPr>
          <p:nvPr>
            <p:custDataLst>
              <p:tags r:id="rId4"/>
            </p:custDataLst>
          </p:nvPr>
        </p:nvSpPr>
        <p:spPr bwMode="auto">
          <a:xfrm>
            <a:off x="762814" y="1024866"/>
            <a:ext cx="192284" cy="201025"/>
          </a:xfrm>
          <a:custGeom>
            <a:avLst/>
            <a:gdLst>
              <a:gd name="T0" fmla="*/ 2147483646 w 581"/>
              <a:gd name="T1" fmla="*/ 2147483646 h 609"/>
              <a:gd name="T2" fmla="*/ 2147483646 w 581"/>
              <a:gd name="T3" fmla="*/ 2147483646 h 609"/>
              <a:gd name="T4" fmla="*/ 2147483646 w 581"/>
              <a:gd name="T5" fmla="*/ 2147483646 h 609"/>
              <a:gd name="T6" fmla="*/ 2147483646 w 581"/>
              <a:gd name="T7" fmla="*/ 2147483646 h 609"/>
              <a:gd name="T8" fmla="*/ 2147483646 w 581"/>
              <a:gd name="T9" fmla="*/ 2147483646 h 609"/>
              <a:gd name="T10" fmla="*/ 2147483646 w 581"/>
              <a:gd name="T11" fmla="*/ 2147483646 h 609"/>
              <a:gd name="T12" fmla="*/ 2147483646 w 581"/>
              <a:gd name="T13" fmla="*/ 2147483646 h 609"/>
              <a:gd name="T14" fmla="*/ 2147483646 w 581"/>
              <a:gd name="T15" fmla="*/ 2147483646 h 609"/>
              <a:gd name="T16" fmla="*/ 2147483646 w 581"/>
              <a:gd name="T17" fmla="*/ 2147483646 h 609"/>
              <a:gd name="T18" fmla="*/ 2147483646 w 581"/>
              <a:gd name="T19" fmla="*/ 2147483646 h 609"/>
              <a:gd name="T20" fmla="*/ 2147483646 w 581"/>
              <a:gd name="T21" fmla="*/ 2147483646 h 609"/>
              <a:gd name="T22" fmla="*/ 0 w 581"/>
              <a:gd name="T23" fmla="*/ 2147483646 h 609"/>
              <a:gd name="T24" fmla="*/ 2147483646 w 581"/>
              <a:gd name="T25" fmla="*/ 2147483646 h 609"/>
              <a:gd name="T26" fmla="*/ 2147483646 w 581"/>
              <a:gd name="T27" fmla="*/ 2147483646 h 609"/>
              <a:gd name="T28" fmla="*/ 2147483646 w 581"/>
              <a:gd name="T29" fmla="*/ 2147483646 h 609"/>
              <a:gd name="T30" fmla="*/ 2147483646 w 581"/>
              <a:gd name="T31" fmla="*/ 2147483646 h 609"/>
              <a:gd name="T32" fmla="*/ 2147483646 w 581"/>
              <a:gd name="T33" fmla="*/ 2147483646 h 609"/>
              <a:gd name="T34" fmla="*/ 2147483646 w 581"/>
              <a:gd name="T35" fmla="*/ 2147483646 h 609"/>
              <a:gd name="T36" fmla="*/ 2147483646 w 581"/>
              <a:gd name="T37" fmla="*/ 2147483646 h 609"/>
              <a:gd name="T38" fmla="*/ 2147483646 w 581"/>
              <a:gd name="T39" fmla="*/ 2147483646 h 609"/>
              <a:gd name="T40" fmla="*/ 2147483646 w 581"/>
              <a:gd name="T41" fmla="*/ 2147483646 h 609"/>
              <a:gd name="T42" fmla="*/ 2147483646 w 581"/>
              <a:gd name="T43" fmla="*/ 2147483646 h 609"/>
              <a:gd name="T44" fmla="*/ 2147483646 w 581"/>
              <a:gd name="T45" fmla="*/ 2147483646 h 609"/>
              <a:gd name="T46" fmla="*/ 2147483646 w 581"/>
              <a:gd name="T47" fmla="*/ 2147483646 h 609"/>
              <a:gd name="T48" fmla="*/ 2147483646 w 581"/>
              <a:gd name="T49" fmla="*/ 2147483646 h 609"/>
              <a:gd name="T50" fmla="*/ 2147483646 w 581"/>
              <a:gd name="T51" fmla="*/ 2147483646 h 609"/>
              <a:gd name="T52" fmla="*/ 2147483646 w 581"/>
              <a:gd name="T53" fmla="*/ 2147483646 h 609"/>
              <a:gd name="T54" fmla="*/ 2147483646 w 581"/>
              <a:gd name="T55" fmla="*/ 2147483646 h 609"/>
              <a:gd name="T56" fmla="*/ 2147483646 w 581"/>
              <a:gd name="T57" fmla="*/ 2147483646 h 609"/>
              <a:gd name="T58" fmla="*/ 2147483646 w 581"/>
              <a:gd name="T59" fmla="*/ 2147483646 h 609"/>
              <a:gd name="T60" fmla="*/ 2147483646 w 581"/>
              <a:gd name="T61" fmla="*/ 2147483646 h 609"/>
              <a:gd name="T62" fmla="*/ 2147483646 w 581"/>
              <a:gd name="T63" fmla="*/ 2147483646 h 609"/>
              <a:gd name="T64" fmla="*/ 2147483646 w 581"/>
              <a:gd name="T65" fmla="*/ 2147483646 h 609"/>
              <a:gd name="T66" fmla="*/ 2147483646 w 581"/>
              <a:gd name="T67" fmla="*/ 2147483646 h 609"/>
              <a:gd name="T68" fmla="*/ 2147483646 w 581"/>
              <a:gd name="T69" fmla="*/ 2147483646 h 609"/>
              <a:gd name="T70" fmla="*/ 2147483646 w 581"/>
              <a:gd name="T71" fmla="*/ 2147483646 h 609"/>
              <a:gd name="T72" fmla="*/ 2147483646 w 581"/>
              <a:gd name="T73" fmla="*/ 2147483646 h 609"/>
              <a:gd name="T74" fmla="*/ 2147483646 w 581"/>
              <a:gd name="T75" fmla="*/ 2147483646 h 609"/>
              <a:gd name="T76" fmla="*/ 2147483646 w 581"/>
              <a:gd name="T77" fmla="*/ 2147483646 h 609"/>
              <a:gd name="T78" fmla="*/ 2147483646 w 581"/>
              <a:gd name="T79" fmla="*/ 2147483646 h 609"/>
              <a:gd name="T80" fmla="*/ 2147483646 w 581"/>
              <a:gd name="T81" fmla="*/ 0 h 609"/>
              <a:gd name="T82" fmla="*/ 2147483646 w 581"/>
              <a:gd name="T83" fmla="*/ 2147483646 h 609"/>
              <a:gd name="T84" fmla="*/ 2147483646 w 581"/>
              <a:gd name="T85" fmla="*/ 2147483646 h 609"/>
              <a:gd name="T86" fmla="*/ 2147483646 w 581"/>
              <a:gd name="T87" fmla="*/ 2147483646 h 609"/>
              <a:gd name="T88" fmla="*/ 2147483646 w 581"/>
              <a:gd name="T89" fmla="*/ 0 h 609"/>
              <a:gd name="T90" fmla="*/ 2147483646 w 581"/>
              <a:gd name="T91" fmla="*/ 2147483646 h 609"/>
              <a:gd name="T92" fmla="*/ 2147483646 w 581"/>
              <a:gd name="T93" fmla="*/ 2147483646 h 609"/>
              <a:gd name="T94" fmla="*/ 2147483646 w 581"/>
              <a:gd name="T95" fmla="*/ 2147483646 h 609"/>
              <a:gd name="T96" fmla="*/ 2147483646 w 581"/>
              <a:gd name="T97" fmla="*/ 0 h 609"/>
              <a:gd name="T98" fmla="*/ 2147483646 w 581"/>
              <a:gd name="T99" fmla="*/ 2147483646 h 609"/>
              <a:gd name="T100" fmla="*/ 0 60000 65536"/>
              <a:gd name="T101" fmla="*/ 0 60000 65536"/>
              <a:gd name="T102" fmla="*/ 0 60000 65536"/>
              <a:gd name="T103" fmla="*/ 0 60000 65536"/>
              <a:gd name="T104" fmla="*/ 0 60000 65536"/>
              <a:gd name="T105" fmla="*/ 0 60000 65536"/>
              <a:gd name="T106" fmla="*/ 0 60000 65536"/>
              <a:gd name="T107" fmla="*/ 0 60000 65536"/>
              <a:gd name="T108" fmla="*/ 0 60000 65536"/>
              <a:gd name="T109" fmla="*/ 0 60000 65536"/>
              <a:gd name="T110" fmla="*/ 0 60000 65536"/>
              <a:gd name="T111" fmla="*/ 0 60000 65536"/>
              <a:gd name="T112" fmla="*/ 0 60000 65536"/>
              <a:gd name="T113" fmla="*/ 0 60000 65536"/>
              <a:gd name="T114" fmla="*/ 0 60000 65536"/>
              <a:gd name="T115" fmla="*/ 0 60000 65536"/>
              <a:gd name="T116" fmla="*/ 0 60000 65536"/>
              <a:gd name="T117" fmla="*/ 0 60000 65536"/>
              <a:gd name="T118" fmla="*/ 0 60000 65536"/>
              <a:gd name="T119" fmla="*/ 0 60000 65536"/>
              <a:gd name="T120" fmla="*/ 0 60000 65536"/>
              <a:gd name="T121" fmla="*/ 0 60000 65536"/>
              <a:gd name="T122" fmla="*/ 0 60000 65536"/>
              <a:gd name="T123" fmla="*/ 0 60000 65536"/>
              <a:gd name="T124" fmla="*/ 0 60000 65536"/>
              <a:gd name="T125" fmla="*/ 0 60000 65536"/>
              <a:gd name="T126" fmla="*/ 0 60000 65536"/>
              <a:gd name="T127" fmla="*/ 0 60000 65536"/>
              <a:gd name="T128" fmla="*/ 0 60000 65536"/>
              <a:gd name="T129" fmla="*/ 0 60000 65536"/>
              <a:gd name="T130" fmla="*/ 0 60000 65536"/>
              <a:gd name="T131" fmla="*/ 0 60000 65536"/>
              <a:gd name="T132" fmla="*/ 0 60000 65536"/>
              <a:gd name="T133" fmla="*/ 0 60000 65536"/>
              <a:gd name="T134" fmla="*/ 0 60000 65536"/>
              <a:gd name="T135" fmla="*/ 0 60000 65536"/>
              <a:gd name="T136" fmla="*/ 0 60000 65536"/>
              <a:gd name="T137" fmla="*/ 0 60000 65536"/>
              <a:gd name="T138" fmla="*/ 0 60000 65536"/>
              <a:gd name="T139" fmla="*/ 0 60000 65536"/>
              <a:gd name="T140" fmla="*/ 0 60000 65536"/>
              <a:gd name="T141" fmla="*/ 0 60000 65536"/>
              <a:gd name="T142" fmla="*/ 0 60000 65536"/>
              <a:gd name="T143" fmla="*/ 0 60000 65536"/>
              <a:gd name="T144" fmla="*/ 0 60000 65536"/>
              <a:gd name="T145" fmla="*/ 0 60000 65536"/>
              <a:gd name="T146" fmla="*/ 0 60000 65536"/>
              <a:gd name="T147" fmla="*/ 0 60000 65536"/>
              <a:gd name="T148" fmla="*/ 0 60000 65536"/>
              <a:gd name="T149" fmla="*/ 0 60000 65536"/>
            </a:gdLst>
            <a:ahLst/>
            <a:cxnLst>
              <a:cxn ang="T100">
                <a:pos x="T0" y="T1"/>
              </a:cxn>
              <a:cxn ang="T101">
                <a:pos x="T2" y="T3"/>
              </a:cxn>
              <a:cxn ang="T102">
                <a:pos x="T4" y="T5"/>
              </a:cxn>
              <a:cxn ang="T103">
                <a:pos x="T6" y="T7"/>
              </a:cxn>
              <a:cxn ang="T104">
                <a:pos x="T8" y="T9"/>
              </a:cxn>
              <a:cxn ang="T105">
                <a:pos x="T10" y="T11"/>
              </a:cxn>
              <a:cxn ang="T106">
                <a:pos x="T12" y="T13"/>
              </a:cxn>
              <a:cxn ang="T107">
                <a:pos x="T14" y="T15"/>
              </a:cxn>
              <a:cxn ang="T108">
                <a:pos x="T16" y="T17"/>
              </a:cxn>
              <a:cxn ang="T109">
                <a:pos x="T18" y="T19"/>
              </a:cxn>
              <a:cxn ang="T110">
                <a:pos x="T20" y="T21"/>
              </a:cxn>
              <a:cxn ang="T111">
                <a:pos x="T22" y="T23"/>
              </a:cxn>
              <a:cxn ang="T112">
                <a:pos x="T24" y="T25"/>
              </a:cxn>
              <a:cxn ang="T113">
                <a:pos x="T26" y="T27"/>
              </a:cxn>
              <a:cxn ang="T114">
                <a:pos x="T28" y="T29"/>
              </a:cxn>
              <a:cxn ang="T115">
                <a:pos x="T30" y="T31"/>
              </a:cxn>
              <a:cxn ang="T116">
                <a:pos x="T32" y="T33"/>
              </a:cxn>
              <a:cxn ang="T117">
                <a:pos x="T34" y="T35"/>
              </a:cxn>
              <a:cxn ang="T118">
                <a:pos x="T36" y="T37"/>
              </a:cxn>
              <a:cxn ang="T119">
                <a:pos x="T38" y="T39"/>
              </a:cxn>
              <a:cxn ang="T120">
                <a:pos x="T40" y="T41"/>
              </a:cxn>
              <a:cxn ang="T121">
                <a:pos x="T42" y="T43"/>
              </a:cxn>
              <a:cxn ang="T122">
                <a:pos x="T44" y="T45"/>
              </a:cxn>
              <a:cxn ang="T123">
                <a:pos x="T46" y="T47"/>
              </a:cxn>
              <a:cxn ang="T124">
                <a:pos x="T48" y="T49"/>
              </a:cxn>
              <a:cxn ang="T125">
                <a:pos x="T50" y="T51"/>
              </a:cxn>
              <a:cxn ang="T126">
                <a:pos x="T52" y="T53"/>
              </a:cxn>
              <a:cxn ang="T127">
                <a:pos x="T54" y="T55"/>
              </a:cxn>
              <a:cxn ang="T128">
                <a:pos x="T56" y="T57"/>
              </a:cxn>
              <a:cxn ang="T129">
                <a:pos x="T58" y="T59"/>
              </a:cxn>
              <a:cxn ang="T130">
                <a:pos x="T60" y="T61"/>
              </a:cxn>
              <a:cxn ang="T131">
                <a:pos x="T62" y="T63"/>
              </a:cxn>
              <a:cxn ang="T132">
                <a:pos x="T64" y="T65"/>
              </a:cxn>
              <a:cxn ang="T133">
                <a:pos x="T66" y="T67"/>
              </a:cxn>
              <a:cxn ang="T134">
                <a:pos x="T68" y="T69"/>
              </a:cxn>
              <a:cxn ang="T135">
                <a:pos x="T70" y="T71"/>
              </a:cxn>
              <a:cxn ang="T136">
                <a:pos x="T72" y="T73"/>
              </a:cxn>
              <a:cxn ang="T137">
                <a:pos x="T74" y="T75"/>
              </a:cxn>
              <a:cxn ang="T138">
                <a:pos x="T76" y="T77"/>
              </a:cxn>
              <a:cxn ang="T139">
                <a:pos x="T78" y="T79"/>
              </a:cxn>
              <a:cxn ang="T140">
                <a:pos x="T80" y="T81"/>
              </a:cxn>
              <a:cxn ang="T141">
                <a:pos x="T82" y="T83"/>
              </a:cxn>
              <a:cxn ang="T142">
                <a:pos x="T84" y="T85"/>
              </a:cxn>
              <a:cxn ang="T143">
                <a:pos x="T86" y="T87"/>
              </a:cxn>
              <a:cxn ang="T144">
                <a:pos x="T88" y="T89"/>
              </a:cxn>
              <a:cxn ang="T145">
                <a:pos x="T90" y="T91"/>
              </a:cxn>
              <a:cxn ang="T146">
                <a:pos x="T92" y="T93"/>
              </a:cxn>
              <a:cxn ang="T147">
                <a:pos x="T94" y="T95"/>
              </a:cxn>
              <a:cxn ang="T148">
                <a:pos x="T96" y="T97"/>
              </a:cxn>
              <a:cxn ang="T149">
                <a:pos x="T98" y="T99"/>
              </a:cxn>
            </a:cxnLst>
            <a:rect l="0" t="0" r="r" b="b"/>
            <a:pathLst>
              <a:path w="581" h="609">
                <a:moveTo>
                  <a:pt x="566" y="523"/>
                </a:moveTo>
                <a:lnTo>
                  <a:pt x="566" y="523"/>
                </a:lnTo>
                <a:cubicBezTo>
                  <a:pt x="495" y="594"/>
                  <a:pt x="495" y="594"/>
                  <a:pt x="495" y="594"/>
                </a:cubicBezTo>
                <a:cubicBezTo>
                  <a:pt x="488" y="601"/>
                  <a:pt x="481" y="608"/>
                  <a:pt x="474" y="608"/>
                </a:cubicBezTo>
                <a:cubicBezTo>
                  <a:pt x="467" y="608"/>
                  <a:pt x="460" y="601"/>
                  <a:pt x="453" y="594"/>
                </a:cubicBezTo>
                <a:cubicBezTo>
                  <a:pt x="417" y="558"/>
                  <a:pt x="417" y="558"/>
                  <a:pt x="417" y="558"/>
                </a:cubicBezTo>
                <a:cubicBezTo>
                  <a:pt x="410" y="551"/>
                  <a:pt x="410" y="544"/>
                  <a:pt x="410" y="537"/>
                </a:cubicBezTo>
                <a:cubicBezTo>
                  <a:pt x="410" y="523"/>
                  <a:pt x="417" y="509"/>
                  <a:pt x="439" y="509"/>
                </a:cubicBezTo>
                <a:cubicBezTo>
                  <a:pt x="446" y="509"/>
                  <a:pt x="453" y="516"/>
                  <a:pt x="453" y="523"/>
                </a:cubicBezTo>
                <a:cubicBezTo>
                  <a:pt x="474" y="537"/>
                  <a:pt x="474" y="537"/>
                  <a:pt x="474" y="537"/>
                </a:cubicBezTo>
                <a:cubicBezTo>
                  <a:pt x="530" y="481"/>
                  <a:pt x="530" y="481"/>
                  <a:pt x="530" y="481"/>
                </a:cubicBezTo>
                <a:cubicBezTo>
                  <a:pt x="537" y="474"/>
                  <a:pt x="545" y="474"/>
                  <a:pt x="552" y="474"/>
                </a:cubicBezTo>
                <a:cubicBezTo>
                  <a:pt x="566" y="474"/>
                  <a:pt x="580" y="488"/>
                  <a:pt x="580" y="502"/>
                </a:cubicBezTo>
                <a:cubicBezTo>
                  <a:pt x="580" y="509"/>
                  <a:pt x="573" y="516"/>
                  <a:pt x="566" y="523"/>
                </a:cubicBezTo>
                <a:close/>
                <a:moveTo>
                  <a:pt x="474" y="495"/>
                </a:moveTo>
                <a:lnTo>
                  <a:pt x="474" y="495"/>
                </a:lnTo>
                <a:cubicBezTo>
                  <a:pt x="467" y="488"/>
                  <a:pt x="453" y="481"/>
                  <a:pt x="439" y="481"/>
                </a:cubicBezTo>
                <a:cubicBezTo>
                  <a:pt x="403" y="481"/>
                  <a:pt x="382" y="509"/>
                  <a:pt x="382" y="537"/>
                </a:cubicBezTo>
                <a:cubicBezTo>
                  <a:pt x="382" y="558"/>
                  <a:pt x="389" y="573"/>
                  <a:pt x="396" y="580"/>
                </a:cubicBezTo>
                <a:cubicBezTo>
                  <a:pt x="424" y="608"/>
                  <a:pt x="424" y="608"/>
                  <a:pt x="424" y="608"/>
                </a:cubicBezTo>
                <a:cubicBezTo>
                  <a:pt x="29" y="608"/>
                  <a:pt x="29" y="608"/>
                  <a:pt x="29" y="608"/>
                </a:cubicBezTo>
                <a:cubicBezTo>
                  <a:pt x="15" y="608"/>
                  <a:pt x="0" y="594"/>
                  <a:pt x="0" y="580"/>
                </a:cubicBezTo>
                <a:cubicBezTo>
                  <a:pt x="0" y="85"/>
                  <a:pt x="0" y="85"/>
                  <a:pt x="0" y="85"/>
                </a:cubicBezTo>
                <a:cubicBezTo>
                  <a:pt x="0" y="71"/>
                  <a:pt x="15" y="56"/>
                  <a:pt x="29" y="56"/>
                </a:cubicBezTo>
                <a:cubicBezTo>
                  <a:pt x="78" y="56"/>
                  <a:pt x="78" y="56"/>
                  <a:pt x="78" y="56"/>
                </a:cubicBezTo>
                <a:cubicBezTo>
                  <a:pt x="78" y="85"/>
                  <a:pt x="78" y="85"/>
                  <a:pt x="78" y="85"/>
                </a:cubicBezTo>
                <a:cubicBezTo>
                  <a:pt x="78" y="120"/>
                  <a:pt x="106" y="141"/>
                  <a:pt x="135" y="141"/>
                </a:cubicBezTo>
                <a:cubicBezTo>
                  <a:pt x="163" y="141"/>
                  <a:pt x="191" y="120"/>
                  <a:pt x="191" y="85"/>
                </a:cubicBezTo>
                <a:cubicBezTo>
                  <a:pt x="191" y="56"/>
                  <a:pt x="191" y="56"/>
                  <a:pt x="191" y="56"/>
                </a:cubicBezTo>
                <a:cubicBezTo>
                  <a:pt x="219" y="56"/>
                  <a:pt x="219" y="56"/>
                  <a:pt x="219" y="56"/>
                </a:cubicBezTo>
                <a:cubicBezTo>
                  <a:pt x="219" y="85"/>
                  <a:pt x="219" y="85"/>
                  <a:pt x="219" y="85"/>
                </a:cubicBezTo>
                <a:cubicBezTo>
                  <a:pt x="219" y="120"/>
                  <a:pt x="248" y="141"/>
                  <a:pt x="276" y="141"/>
                </a:cubicBezTo>
                <a:cubicBezTo>
                  <a:pt x="304" y="141"/>
                  <a:pt x="333" y="120"/>
                  <a:pt x="333" y="85"/>
                </a:cubicBezTo>
                <a:cubicBezTo>
                  <a:pt x="333" y="56"/>
                  <a:pt x="333" y="56"/>
                  <a:pt x="333" y="56"/>
                </a:cubicBezTo>
                <a:cubicBezTo>
                  <a:pt x="361" y="56"/>
                  <a:pt x="361" y="56"/>
                  <a:pt x="361" y="56"/>
                </a:cubicBezTo>
                <a:cubicBezTo>
                  <a:pt x="361" y="85"/>
                  <a:pt x="361" y="85"/>
                  <a:pt x="361" y="85"/>
                </a:cubicBezTo>
                <a:cubicBezTo>
                  <a:pt x="361" y="120"/>
                  <a:pt x="389" y="141"/>
                  <a:pt x="417" y="141"/>
                </a:cubicBezTo>
                <a:cubicBezTo>
                  <a:pt x="446" y="141"/>
                  <a:pt x="474" y="120"/>
                  <a:pt x="474" y="85"/>
                </a:cubicBezTo>
                <a:cubicBezTo>
                  <a:pt x="474" y="56"/>
                  <a:pt x="474" y="56"/>
                  <a:pt x="474" y="56"/>
                </a:cubicBezTo>
                <a:cubicBezTo>
                  <a:pt x="523" y="56"/>
                  <a:pt x="523" y="56"/>
                  <a:pt x="523" y="56"/>
                </a:cubicBezTo>
                <a:cubicBezTo>
                  <a:pt x="537" y="56"/>
                  <a:pt x="552" y="71"/>
                  <a:pt x="552" y="85"/>
                </a:cubicBezTo>
                <a:cubicBezTo>
                  <a:pt x="552" y="445"/>
                  <a:pt x="552" y="445"/>
                  <a:pt x="552" y="445"/>
                </a:cubicBezTo>
                <a:cubicBezTo>
                  <a:pt x="530" y="445"/>
                  <a:pt x="516" y="452"/>
                  <a:pt x="509" y="460"/>
                </a:cubicBezTo>
                <a:lnTo>
                  <a:pt x="474" y="495"/>
                </a:lnTo>
                <a:close/>
                <a:moveTo>
                  <a:pt x="78" y="488"/>
                </a:moveTo>
                <a:lnTo>
                  <a:pt x="78" y="488"/>
                </a:lnTo>
                <a:cubicBezTo>
                  <a:pt x="78" y="502"/>
                  <a:pt x="85" y="509"/>
                  <a:pt x="99" y="509"/>
                </a:cubicBezTo>
                <a:cubicBezTo>
                  <a:pt x="283" y="509"/>
                  <a:pt x="283" y="509"/>
                  <a:pt x="283" y="509"/>
                </a:cubicBezTo>
                <a:cubicBezTo>
                  <a:pt x="297" y="509"/>
                  <a:pt x="304" y="502"/>
                  <a:pt x="304" y="488"/>
                </a:cubicBezTo>
                <a:cubicBezTo>
                  <a:pt x="304" y="474"/>
                  <a:pt x="297" y="467"/>
                  <a:pt x="283" y="467"/>
                </a:cubicBezTo>
                <a:cubicBezTo>
                  <a:pt x="99" y="467"/>
                  <a:pt x="99" y="467"/>
                  <a:pt x="99" y="467"/>
                </a:cubicBezTo>
                <a:cubicBezTo>
                  <a:pt x="85" y="467"/>
                  <a:pt x="78" y="474"/>
                  <a:pt x="78" y="488"/>
                </a:cubicBezTo>
                <a:close/>
                <a:moveTo>
                  <a:pt x="446" y="219"/>
                </a:moveTo>
                <a:lnTo>
                  <a:pt x="446" y="219"/>
                </a:lnTo>
                <a:cubicBezTo>
                  <a:pt x="106" y="219"/>
                  <a:pt x="106" y="219"/>
                  <a:pt x="106" y="219"/>
                </a:cubicBezTo>
                <a:cubicBezTo>
                  <a:pt x="92" y="219"/>
                  <a:pt x="78" y="233"/>
                  <a:pt x="78" y="247"/>
                </a:cubicBezTo>
                <a:cubicBezTo>
                  <a:pt x="78" y="262"/>
                  <a:pt x="92" y="276"/>
                  <a:pt x="106" y="276"/>
                </a:cubicBezTo>
                <a:cubicBezTo>
                  <a:pt x="446" y="276"/>
                  <a:pt x="446" y="276"/>
                  <a:pt x="446" y="276"/>
                </a:cubicBezTo>
                <a:cubicBezTo>
                  <a:pt x="460" y="276"/>
                  <a:pt x="474" y="262"/>
                  <a:pt x="474" y="247"/>
                </a:cubicBezTo>
                <a:cubicBezTo>
                  <a:pt x="474" y="233"/>
                  <a:pt x="460" y="219"/>
                  <a:pt x="446" y="219"/>
                </a:cubicBezTo>
                <a:close/>
                <a:moveTo>
                  <a:pt x="446" y="339"/>
                </a:moveTo>
                <a:lnTo>
                  <a:pt x="446" y="339"/>
                </a:lnTo>
                <a:cubicBezTo>
                  <a:pt x="276" y="339"/>
                  <a:pt x="276" y="339"/>
                  <a:pt x="276" y="339"/>
                </a:cubicBezTo>
                <a:cubicBezTo>
                  <a:pt x="226" y="339"/>
                  <a:pt x="226" y="339"/>
                  <a:pt x="226" y="339"/>
                </a:cubicBezTo>
                <a:cubicBezTo>
                  <a:pt x="106" y="339"/>
                  <a:pt x="106" y="339"/>
                  <a:pt x="106" y="339"/>
                </a:cubicBezTo>
                <a:cubicBezTo>
                  <a:pt x="92" y="339"/>
                  <a:pt x="78" y="353"/>
                  <a:pt x="78" y="367"/>
                </a:cubicBezTo>
                <a:cubicBezTo>
                  <a:pt x="78" y="389"/>
                  <a:pt x="92" y="396"/>
                  <a:pt x="106" y="396"/>
                </a:cubicBezTo>
                <a:cubicBezTo>
                  <a:pt x="226" y="396"/>
                  <a:pt x="226" y="396"/>
                  <a:pt x="226" y="396"/>
                </a:cubicBezTo>
                <a:cubicBezTo>
                  <a:pt x="276" y="396"/>
                  <a:pt x="276" y="396"/>
                  <a:pt x="276" y="396"/>
                </a:cubicBezTo>
                <a:cubicBezTo>
                  <a:pt x="446" y="396"/>
                  <a:pt x="446" y="396"/>
                  <a:pt x="446" y="396"/>
                </a:cubicBezTo>
                <a:cubicBezTo>
                  <a:pt x="460" y="396"/>
                  <a:pt x="474" y="389"/>
                  <a:pt x="474" y="367"/>
                </a:cubicBezTo>
                <a:cubicBezTo>
                  <a:pt x="474" y="353"/>
                  <a:pt x="460" y="339"/>
                  <a:pt x="446" y="339"/>
                </a:cubicBezTo>
                <a:close/>
                <a:moveTo>
                  <a:pt x="417" y="113"/>
                </a:moveTo>
                <a:lnTo>
                  <a:pt x="417" y="113"/>
                </a:lnTo>
                <a:cubicBezTo>
                  <a:pt x="403" y="113"/>
                  <a:pt x="389" y="106"/>
                  <a:pt x="389" y="85"/>
                </a:cubicBezTo>
                <a:cubicBezTo>
                  <a:pt x="389" y="28"/>
                  <a:pt x="389" y="28"/>
                  <a:pt x="389" y="28"/>
                </a:cubicBezTo>
                <a:cubicBezTo>
                  <a:pt x="389" y="14"/>
                  <a:pt x="403" y="0"/>
                  <a:pt x="417" y="0"/>
                </a:cubicBezTo>
                <a:cubicBezTo>
                  <a:pt x="431" y="0"/>
                  <a:pt x="446" y="14"/>
                  <a:pt x="446" y="28"/>
                </a:cubicBezTo>
                <a:cubicBezTo>
                  <a:pt x="446" y="85"/>
                  <a:pt x="446" y="85"/>
                  <a:pt x="446" y="85"/>
                </a:cubicBezTo>
                <a:cubicBezTo>
                  <a:pt x="446" y="106"/>
                  <a:pt x="431" y="113"/>
                  <a:pt x="417" y="113"/>
                </a:cubicBezTo>
                <a:close/>
                <a:moveTo>
                  <a:pt x="276" y="113"/>
                </a:moveTo>
                <a:lnTo>
                  <a:pt x="276" y="113"/>
                </a:lnTo>
                <a:cubicBezTo>
                  <a:pt x="262" y="113"/>
                  <a:pt x="248" y="106"/>
                  <a:pt x="248" y="85"/>
                </a:cubicBezTo>
                <a:cubicBezTo>
                  <a:pt x="248" y="28"/>
                  <a:pt x="248" y="28"/>
                  <a:pt x="248" y="28"/>
                </a:cubicBezTo>
                <a:cubicBezTo>
                  <a:pt x="248" y="14"/>
                  <a:pt x="262" y="0"/>
                  <a:pt x="276" y="0"/>
                </a:cubicBezTo>
                <a:cubicBezTo>
                  <a:pt x="290" y="0"/>
                  <a:pt x="304" y="14"/>
                  <a:pt x="304" y="28"/>
                </a:cubicBezTo>
                <a:cubicBezTo>
                  <a:pt x="304" y="85"/>
                  <a:pt x="304" y="85"/>
                  <a:pt x="304" y="85"/>
                </a:cubicBezTo>
                <a:cubicBezTo>
                  <a:pt x="304" y="106"/>
                  <a:pt x="290" y="113"/>
                  <a:pt x="276" y="113"/>
                </a:cubicBezTo>
                <a:close/>
                <a:moveTo>
                  <a:pt x="135" y="113"/>
                </a:moveTo>
                <a:lnTo>
                  <a:pt x="135" y="113"/>
                </a:lnTo>
                <a:cubicBezTo>
                  <a:pt x="121" y="113"/>
                  <a:pt x="106" y="106"/>
                  <a:pt x="106" y="85"/>
                </a:cubicBezTo>
                <a:cubicBezTo>
                  <a:pt x="106" y="28"/>
                  <a:pt x="106" y="28"/>
                  <a:pt x="106" y="28"/>
                </a:cubicBezTo>
                <a:cubicBezTo>
                  <a:pt x="106" y="14"/>
                  <a:pt x="121" y="0"/>
                  <a:pt x="135" y="0"/>
                </a:cubicBezTo>
                <a:cubicBezTo>
                  <a:pt x="149" y="0"/>
                  <a:pt x="163" y="14"/>
                  <a:pt x="163" y="28"/>
                </a:cubicBezTo>
                <a:cubicBezTo>
                  <a:pt x="163" y="85"/>
                  <a:pt x="163" y="85"/>
                  <a:pt x="163" y="85"/>
                </a:cubicBezTo>
                <a:cubicBezTo>
                  <a:pt x="163" y="106"/>
                  <a:pt x="149" y="113"/>
                  <a:pt x="135" y="113"/>
                </a:cubicBezTo>
                <a:close/>
              </a:path>
            </a:pathLst>
          </a:custGeom>
          <a:solidFill>
            <a:schemeClr val="bg1"/>
          </a:solidFill>
          <a:ln>
            <a:noFill/>
          </a:ln>
          <a:extLs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round/>
              </a14:hiddenLine>
            </a:ext>
          </a:extLst>
        </p:spPr>
        <p:txBody>
          <a:bodyPr wrap="none" anchor="ctr"/>
          <a:lstStyle/>
          <a:p>
            <a:endParaRPr lang="zh-CN" altLang="en-US" sz="1800">
              <a:latin typeface="微软雅黑" panose="020B0503020204020204" pitchFamily="34" charset="-122"/>
              <a:ea typeface="微软雅黑" panose="020B0503020204020204" pitchFamily="34" charset="-122"/>
              <a:cs typeface="+mn-ea"/>
              <a:sym typeface="思源宋体 CN" panose="02020400000000000000" pitchFamily="18" charset="-122"/>
            </a:endParaRPr>
          </a:p>
        </p:txBody>
      </p:sp>
      <p:sp>
        <p:nvSpPr>
          <p:cNvPr id="46" name="任意多边形 182"/>
          <p:cNvSpPr/>
          <p:nvPr>
            <p:custDataLst>
              <p:tags r:id="rId5"/>
            </p:custDataLst>
          </p:nvPr>
        </p:nvSpPr>
        <p:spPr>
          <a:xfrm rot="16200000" flipV="1">
            <a:off x="6765925" y="3526790"/>
            <a:ext cx="3819525" cy="381635"/>
          </a:xfrm>
          <a:custGeom>
            <a:avLst/>
            <a:gdLst>
              <a:gd name="connsiteX0" fmla="*/ 2836201 w 2836201"/>
              <a:gd name="connsiteY0" fmla="*/ 3789428 h 3789428"/>
              <a:gd name="connsiteX1" fmla="*/ 2711787 w 2836201"/>
              <a:gd name="connsiteY1" fmla="*/ 3682142 h 3789428"/>
              <a:gd name="connsiteX2" fmla="*/ 1888961 w 2836201"/>
              <a:gd name="connsiteY2" fmla="*/ 1207373 h 3789428"/>
              <a:gd name="connsiteX3" fmla="*/ 1897078 w 2836201"/>
              <a:gd name="connsiteY3" fmla="*/ 919610 h 3789428"/>
              <a:gd name="connsiteX4" fmla="*/ 1902386 w 2836201"/>
              <a:gd name="connsiteY4" fmla="*/ 857358 h 3789428"/>
              <a:gd name="connsiteX5" fmla="*/ 2275459 w 2836201"/>
              <a:gd name="connsiteY5" fmla="*/ 857358 h 3789428"/>
              <a:gd name="connsiteX6" fmla="*/ 1418101 w 2836201"/>
              <a:gd name="connsiteY6" fmla="*/ 0 h 3789428"/>
              <a:gd name="connsiteX7" fmla="*/ 560743 w 2836201"/>
              <a:gd name="connsiteY7" fmla="*/ 857358 h 3789428"/>
              <a:gd name="connsiteX8" fmla="*/ 933815 w 2836201"/>
              <a:gd name="connsiteY8" fmla="*/ 857358 h 3789428"/>
              <a:gd name="connsiteX9" fmla="*/ 939123 w 2836201"/>
              <a:gd name="connsiteY9" fmla="*/ 919610 h 3789428"/>
              <a:gd name="connsiteX10" fmla="*/ 947240 w 2836201"/>
              <a:gd name="connsiteY10" fmla="*/ 1207373 h 3789428"/>
              <a:gd name="connsiteX11" fmla="*/ 124414 w 2836201"/>
              <a:gd name="connsiteY11" fmla="*/ 3682142 h 3789428"/>
              <a:gd name="connsiteX12" fmla="*/ 0 w 2836201"/>
              <a:gd name="connsiteY12" fmla="*/ 3789428 h 3789428"/>
              <a:gd name="connsiteX13" fmla="*/ 56160 w 2836201"/>
              <a:gd name="connsiteY13" fmla="*/ 3789428 h 3789428"/>
              <a:gd name="connsiteX14" fmla="*/ 2780041 w 2836201"/>
              <a:gd name="connsiteY14" fmla="*/ 3789428 h 378942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  <a:cxn ang="0">
                <a:pos x="connsiteX11" y="connsiteY11"/>
              </a:cxn>
              <a:cxn ang="0">
                <a:pos x="connsiteX12" y="connsiteY12"/>
              </a:cxn>
              <a:cxn ang="0">
                <a:pos x="connsiteX13" y="connsiteY13"/>
              </a:cxn>
              <a:cxn ang="0">
                <a:pos x="connsiteX14" y="connsiteY14"/>
              </a:cxn>
            </a:cxnLst>
            <a:rect l="l" t="t" r="r" b="b"/>
            <a:pathLst>
              <a:path w="2836201" h="3789428">
                <a:moveTo>
                  <a:pt x="2836201" y="3789428"/>
                </a:moveTo>
                <a:lnTo>
                  <a:pt x="2711787" y="3682142"/>
                </a:lnTo>
                <a:cubicBezTo>
                  <a:pt x="2221675" y="3205543"/>
                  <a:pt x="1888961" y="2276012"/>
                  <a:pt x="1888961" y="1207373"/>
                </a:cubicBezTo>
                <a:cubicBezTo>
                  <a:pt x="1888961" y="1110224"/>
                  <a:pt x="1891711" y="1014224"/>
                  <a:pt x="1897078" y="919610"/>
                </a:cubicBezTo>
                <a:lnTo>
                  <a:pt x="1902386" y="857358"/>
                </a:lnTo>
                <a:lnTo>
                  <a:pt x="2275459" y="857358"/>
                </a:lnTo>
                <a:lnTo>
                  <a:pt x="1418101" y="0"/>
                </a:lnTo>
                <a:lnTo>
                  <a:pt x="560743" y="857358"/>
                </a:lnTo>
                <a:lnTo>
                  <a:pt x="933815" y="857358"/>
                </a:lnTo>
                <a:lnTo>
                  <a:pt x="939123" y="919610"/>
                </a:lnTo>
                <a:cubicBezTo>
                  <a:pt x="944490" y="1014224"/>
                  <a:pt x="947240" y="1110224"/>
                  <a:pt x="947240" y="1207373"/>
                </a:cubicBezTo>
                <a:cubicBezTo>
                  <a:pt x="947240" y="2276012"/>
                  <a:pt x="614527" y="3205543"/>
                  <a:pt x="124414" y="3682142"/>
                </a:cubicBezTo>
                <a:lnTo>
                  <a:pt x="0" y="3789428"/>
                </a:lnTo>
                <a:lnTo>
                  <a:pt x="56160" y="3789428"/>
                </a:lnTo>
                <a:lnTo>
                  <a:pt x="2780041" y="3789428"/>
                </a:lnTo>
                <a:close/>
              </a:path>
            </a:pathLst>
          </a:custGeom>
          <a:gradFill flip="none" rotWithShape="1">
            <a:gsLst>
              <a:gs pos="0">
                <a:schemeClr val="accent1">
                  <a:lumMod val="5000"/>
                  <a:lumOff val="95000"/>
                </a:schemeClr>
              </a:gs>
              <a:gs pos="42000">
                <a:srgbClr val="F4DF99"/>
              </a:gs>
              <a:gs pos="100000">
                <a:srgbClr val="F58D70"/>
              </a:gs>
            </a:gsLst>
            <a:lin ang="19260000" scaled="1"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square" rtlCol="0" anchor="ctr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9pPr>
          </a:lstStyle>
          <a:p>
            <a:pPr algn="ctr"/>
            <a:r>
              <a:rPr lang="en-US" altLang="zh-CN" sz="1200"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rPr>
              <a:t> </a:t>
            </a:r>
            <a:endParaRPr lang="en-US" altLang="zh-CN" sz="1200">
              <a:latin typeface="微软雅黑" panose="020B0503020204020204" pitchFamily="34" charset="-122"/>
              <a:cs typeface="+mn-ea"/>
              <a:sym typeface="微软雅黑" panose="020B0503020204020204" pitchFamily="34" charset="-122"/>
            </a:endParaRPr>
          </a:p>
        </p:txBody>
      </p:sp>
      <p:sp>
        <p:nvSpPr>
          <p:cNvPr id="133" name="矩形 132"/>
          <p:cNvSpPr/>
          <p:nvPr/>
        </p:nvSpPr>
        <p:spPr>
          <a:xfrm>
            <a:off x="7093585" y="4140835"/>
            <a:ext cx="899160" cy="245110"/>
          </a:xfrm>
          <a:prstGeom prst="rect">
            <a:avLst/>
          </a:prstGeom>
          <a:gradFill flip="none" rotWithShape="1">
            <a:gsLst>
              <a:gs pos="52000">
                <a:srgbClr val="C00000"/>
              </a:gs>
              <a:gs pos="100000">
                <a:schemeClr val="accent6"/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9pPr>
          </a:lstStyle>
          <a:p>
            <a:pPr lvl="0" algn="ctr" eaLnBrk="1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900" b="1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lt"/>
                <a:sym typeface="+mn-ea"/>
              </a:rPr>
              <a:t>垃圾箱溢满</a:t>
            </a:r>
            <a:endParaRPr lang="zh-CN" altLang="en-US" sz="900" b="1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lt"/>
              <a:sym typeface="+mn-ea"/>
            </a:endParaRPr>
          </a:p>
        </p:txBody>
      </p:sp>
      <p:sp>
        <p:nvSpPr>
          <p:cNvPr id="31" name="文本框 30"/>
          <p:cNvSpPr txBox="1"/>
          <p:nvPr/>
        </p:nvSpPr>
        <p:spPr>
          <a:xfrm>
            <a:off x="5162550" y="5224780"/>
            <a:ext cx="1644650" cy="29019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lvl="0" algn="ctr">
              <a:buClrTx/>
              <a:buSzTx/>
              <a:buFont typeface="Arial" panose="020B0604020202020204" pitchFamily="34" charset="0"/>
            </a:pPr>
            <a:r>
              <a:rPr lang="zh-CN" sz="1200" dirty="0" smtClean="0">
                <a:solidFill>
                  <a:schemeClr val="bg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城市治理事件预训练</a:t>
            </a:r>
            <a:endParaRPr lang="zh-CN" sz="1200" dirty="0" smtClean="0">
              <a:solidFill>
                <a:schemeClr val="bg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" name="文本框 1"/>
          <p:cNvSpPr txBox="1"/>
          <p:nvPr/>
        </p:nvSpPr>
        <p:spPr>
          <a:xfrm>
            <a:off x="1009015" y="1662430"/>
            <a:ext cx="1649730" cy="36512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algn="ctr"/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单一事件</a:t>
            </a:r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检测</a:t>
            </a:r>
            <a:endParaRPr lang="zh-CN" sz="16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53" name="组合 52"/>
          <p:cNvGrpSpPr/>
          <p:nvPr/>
        </p:nvGrpSpPr>
        <p:grpSpPr>
          <a:xfrm>
            <a:off x="948055" y="4345940"/>
            <a:ext cx="1720850" cy="1525270"/>
            <a:chOff x="836" y="7253"/>
            <a:chExt cx="2710" cy="2402"/>
          </a:xfrm>
        </p:grpSpPr>
        <p:grpSp>
          <p:nvGrpSpPr>
            <p:cNvPr id="50" name="组合 49"/>
            <p:cNvGrpSpPr/>
            <p:nvPr/>
          </p:nvGrpSpPr>
          <p:grpSpPr>
            <a:xfrm>
              <a:off x="944" y="8513"/>
              <a:ext cx="2494" cy="1142"/>
              <a:chOff x="1076" y="8513"/>
              <a:chExt cx="2494" cy="1142"/>
            </a:xfrm>
          </p:grpSpPr>
          <p:pic>
            <p:nvPicPr>
              <p:cNvPr id="11" name="picture 1180"/>
              <p:cNvPicPr>
                <a:picLocks noChangeAspect="1"/>
              </p:cNvPicPr>
              <p:nvPr/>
            </p:nvPicPr>
            <p:blipFill>
              <a:blip r:embed="rId6">
                <a:grayscl/>
              </a:blip>
              <a:stretch>
                <a:fillRect/>
              </a:stretch>
            </p:blipFill>
            <p:spPr>
              <a:xfrm rot="21600000">
                <a:off x="1076" y="8513"/>
                <a:ext cx="2494" cy="1142"/>
              </a:xfrm>
              <a:prstGeom prst="rect">
                <a:avLst/>
              </a:prstGeom>
            </p:spPr>
          </p:pic>
          <p:sp>
            <p:nvSpPr>
              <p:cNvPr id="12" name="textbox 1234"/>
              <p:cNvSpPr/>
              <p:nvPr/>
            </p:nvSpPr>
            <p:spPr>
              <a:xfrm>
                <a:off x="1476" y="8980"/>
                <a:ext cx="1674" cy="291"/>
              </a:xfrm>
              <a:prstGeom prst="rect">
                <a:avLst/>
              </a:prstGeom>
              <a:noFill/>
              <a:ln w="0" cap="flat">
                <a:noFill/>
                <a:prstDash val="solid"/>
                <a:miter lim="0"/>
              </a:ln>
            </p:spPr>
            <p:txBody>
              <a:bodyPr vert="horz" wrap="square" lIns="0" tIns="0" rIns="0" bIns="0"/>
              <a:p>
                <a:pPr algn="l" rtl="0" eaLnBrk="0">
                  <a:lnSpc>
                    <a:spcPct val="79000"/>
                  </a:lnSpc>
                </a:pPr>
                <a:endParaRPr sz="100" dirty="0">
                  <a:latin typeface="Arial" panose="020B0604020202020204"/>
                  <a:ea typeface="Arial" panose="020B0604020202020204"/>
                  <a:cs typeface="Arial" panose="020B0604020202020204"/>
                </a:endParaRPr>
              </a:p>
              <a:p>
                <a:pPr marL="12700" algn="ctr" rtl="0" eaLnBrk="0">
                  <a:lnSpc>
                    <a:spcPct val="91000"/>
                  </a:lnSpc>
                </a:pPr>
                <a:r>
                  <a:rPr lang="zh-CN" sz="1200" b="1" kern="0" spc="-10" dirty="0">
                    <a:solidFill>
                      <a:srgbClr val="FFFFFF">
                        <a:alpha val="100000"/>
                      </a:srgb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机动车乱停放</a:t>
                </a:r>
                <a:r>
                  <a:rPr lang="zh-CN" sz="1200" b="1" kern="0" spc="-10" dirty="0">
                    <a:solidFill>
                      <a:srgbClr val="FFFFFF">
                        <a:alpha val="100000"/>
                      </a:srgb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检测算法</a:t>
                </a:r>
                <a:endParaRPr sz="1200" b="1" kern="0" spc="-10" dirty="0">
                  <a:solidFill>
                    <a:srgbClr val="FFFFFF">
                      <a:alpha val="10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</p:grpSp>
        <p:grpSp>
          <p:nvGrpSpPr>
            <p:cNvPr id="40" name="组合 39"/>
            <p:cNvGrpSpPr/>
            <p:nvPr/>
          </p:nvGrpSpPr>
          <p:grpSpPr>
            <a:xfrm>
              <a:off x="836" y="7253"/>
              <a:ext cx="2710" cy="1548"/>
              <a:chOff x="5287" y="4978"/>
              <a:chExt cx="4072" cy="2326"/>
            </a:xfrm>
          </p:grpSpPr>
          <p:sp>
            <p:nvSpPr>
              <p:cNvPr id="36" name="object 9"/>
              <p:cNvSpPr/>
              <p:nvPr>
                <p:custDataLst>
                  <p:tags r:id="rId7"/>
                </p:custDataLst>
              </p:nvPr>
            </p:nvSpPr>
            <p:spPr>
              <a:xfrm>
                <a:off x="5287" y="4978"/>
                <a:ext cx="4072" cy="2326"/>
              </a:xfrm>
              <a:prstGeom prst="rect">
                <a:avLst/>
              </a:prstGeom>
              <a:blipFill>
                <a:blip r:embed="rId8" cstate="screen"/>
                <a:stretch>
                  <a:fillRect/>
                </a:stretch>
              </a:blipFill>
              <a:ln>
                <a:solidFill>
                  <a:srgbClr val="43A2B7"/>
                </a:solidFill>
              </a:ln>
            </p:spPr>
            <p:txBody>
              <a:bodyPr wrap="square" lIns="0" tIns="0" rIns="0" bIns="0" rtlCol="0"/>
              <a:p>
                <a:endParaRPr sz="1000">
                  <a:solidFill>
                    <a:schemeClr val="bg1"/>
                  </a:solidFill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37" name="object 36"/>
              <p:cNvSpPr/>
              <p:nvPr>
                <p:custDataLst>
                  <p:tags r:id="rId9"/>
                </p:custDataLst>
              </p:nvPr>
            </p:nvSpPr>
            <p:spPr>
              <a:xfrm>
                <a:off x="7563" y="5938"/>
                <a:ext cx="1118" cy="679"/>
              </a:xfrm>
              <a:custGeom>
                <a:avLst/>
                <a:gdLst/>
                <a:ahLst/>
                <a:cxnLst/>
                <a:rect l="l" t="t" r="r" b="b"/>
                <a:pathLst>
                  <a:path w="891539" h="913129">
                    <a:moveTo>
                      <a:pt x="0" y="0"/>
                    </a:moveTo>
                    <a:lnTo>
                      <a:pt x="891308" y="0"/>
                    </a:lnTo>
                    <a:lnTo>
                      <a:pt x="891308" y="912679"/>
                    </a:lnTo>
                    <a:lnTo>
                      <a:pt x="0" y="912679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50000">
                    <a:srgbClr val="6AACFE">
                      <a:alpha val="0"/>
                    </a:srgbClr>
                  </a:gs>
                  <a:gs pos="100000">
                    <a:srgbClr val="6AACFE">
                      <a:alpha val="70000"/>
                    </a:srgbClr>
                  </a:gs>
                </a:gsLst>
                <a:lin ang="5400000" scaled="1"/>
              </a:gra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p>
                <a:pPr lvl="0" algn="ctr">
                  <a:buClrTx/>
                  <a:buSzTx/>
                  <a:buFontTx/>
                </a:pPr>
                <a:endParaRPr lang="zh-CN" altLang="en-US" sz="1000">
                  <a:sym typeface="+mn-ea"/>
                </a:endParaRPr>
              </a:p>
            </p:txBody>
          </p:sp>
          <p:sp>
            <p:nvSpPr>
              <p:cNvPr id="38" name="矩形 37"/>
              <p:cNvSpPr/>
              <p:nvPr>
                <p:custDataLst>
                  <p:tags r:id="rId10"/>
                </p:custDataLst>
              </p:nvPr>
            </p:nvSpPr>
            <p:spPr>
              <a:xfrm>
                <a:off x="7064" y="4979"/>
                <a:ext cx="2295" cy="566"/>
              </a:xfrm>
              <a:prstGeom prst="rect">
                <a:avLst/>
              </a:prstGeom>
              <a:gradFill flip="none" rotWithShape="1">
                <a:gsLst>
                  <a:gs pos="52000">
                    <a:srgbClr val="C00000"/>
                  </a:gs>
                  <a:gs pos="100000">
                    <a:schemeClr val="accent6"/>
                  </a:gs>
                </a:gsLst>
                <a:lin ang="2700000" scaled="0"/>
              </a:gra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>
                    <a:solidFill>
                      <a:schemeClr val="lt1"/>
                    </a:solidFill>
                  </a:defRPr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9pPr>
              </a:lstStyle>
              <a:p>
                <a:pPr lvl="0" algn="ctr" eaLnBrk="1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defRPr/>
                </a:pPr>
                <a:r>
                  <a:rPr lang="zh-CN" altLang="en-US" sz="900" b="1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lt"/>
                    <a:sym typeface="+mn-ea"/>
                  </a:rPr>
                  <a:t>机动车乱停放</a:t>
                </a:r>
                <a:endParaRPr lang="zh-CN" altLang="en-US" sz="900" b="1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lt"/>
                  <a:sym typeface="+mn-ea"/>
                </a:endParaRPr>
              </a:p>
            </p:txBody>
          </p:sp>
        </p:grpSp>
      </p:grpSp>
      <p:grpSp>
        <p:nvGrpSpPr>
          <p:cNvPr id="52" name="组合 51"/>
          <p:cNvGrpSpPr/>
          <p:nvPr/>
        </p:nvGrpSpPr>
        <p:grpSpPr>
          <a:xfrm>
            <a:off x="948690" y="2271395"/>
            <a:ext cx="1720850" cy="1555115"/>
            <a:chOff x="861" y="3793"/>
            <a:chExt cx="2710" cy="2449"/>
          </a:xfrm>
        </p:grpSpPr>
        <p:grpSp>
          <p:nvGrpSpPr>
            <p:cNvPr id="51" name="组合 50"/>
            <p:cNvGrpSpPr/>
            <p:nvPr/>
          </p:nvGrpSpPr>
          <p:grpSpPr>
            <a:xfrm>
              <a:off x="969" y="5100"/>
              <a:ext cx="2494" cy="1142"/>
              <a:chOff x="931" y="5100"/>
              <a:chExt cx="2494" cy="1142"/>
            </a:xfrm>
          </p:grpSpPr>
          <p:pic>
            <p:nvPicPr>
              <p:cNvPr id="9" name="picture 1180"/>
              <p:cNvPicPr>
                <a:picLocks noChangeAspect="1"/>
              </p:cNvPicPr>
              <p:nvPr/>
            </p:nvPicPr>
            <p:blipFill>
              <a:blip r:embed="rId6">
                <a:grayscl/>
              </a:blip>
              <a:stretch>
                <a:fillRect/>
              </a:stretch>
            </p:blipFill>
            <p:spPr>
              <a:xfrm>
                <a:off x="931" y="5100"/>
                <a:ext cx="2494" cy="1142"/>
              </a:xfrm>
              <a:prstGeom prst="rect">
                <a:avLst/>
              </a:prstGeom>
            </p:spPr>
          </p:pic>
          <p:sp>
            <p:nvSpPr>
              <p:cNvPr id="10" name="textbox 1234"/>
              <p:cNvSpPr/>
              <p:nvPr/>
            </p:nvSpPr>
            <p:spPr>
              <a:xfrm>
                <a:off x="1616" y="5495"/>
                <a:ext cx="1124" cy="270"/>
              </a:xfrm>
              <a:prstGeom prst="rect">
                <a:avLst/>
              </a:prstGeom>
              <a:noFill/>
              <a:ln w="0" cap="flat">
                <a:noFill/>
                <a:prstDash val="solid"/>
                <a:miter lim="0"/>
              </a:ln>
            </p:spPr>
            <p:txBody>
              <a:bodyPr vert="horz" wrap="square" lIns="0" tIns="0" rIns="0" bIns="0"/>
              <a:p>
                <a:pPr algn="l" rtl="0" eaLnBrk="0">
                  <a:lnSpc>
                    <a:spcPct val="79000"/>
                  </a:lnSpc>
                </a:pPr>
                <a:endParaRPr sz="100" dirty="0">
                  <a:latin typeface="Arial" panose="020B0604020202020204"/>
                  <a:ea typeface="Arial" panose="020B0604020202020204"/>
                  <a:cs typeface="Arial" panose="020B0604020202020204"/>
                </a:endParaRPr>
              </a:p>
              <a:p>
                <a:pPr marL="12700" algn="ctr" rtl="0" eaLnBrk="0">
                  <a:lnSpc>
                    <a:spcPct val="91000"/>
                  </a:lnSpc>
                </a:pPr>
                <a:r>
                  <a:rPr lang="zh-CN" sz="1200" b="1" kern="0" spc="-10" dirty="0">
                    <a:solidFill>
                      <a:srgbClr val="FFFFFF">
                        <a:alpha val="100000"/>
                      </a:srgb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店外经营检测</a:t>
                </a:r>
                <a:r>
                  <a:rPr lang="zh-CN" sz="1200" b="1" kern="0" spc="-10" dirty="0">
                    <a:solidFill>
                      <a:srgbClr val="FFFFFF">
                        <a:alpha val="100000"/>
                      </a:srgbClr>
                    </a:solidFill>
                    <a:latin typeface="微软雅黑" panose="020B0503020204020204" pitchFamily="34" charset="-122"/>
                    <a:ea typeface="微软雅黑" panose="020B0503020204020204" pitchFamily="34" charset="-122"/>
                    <a:cs typeface="微软雅黑" panose="020B0503020204020204" pitchFamily="34" charset="-122"/>
                  </a:rPr>
                  <a:t>算法</a:t>
                </a:r>
                <a:endParaRPr lang="zh-CN" sz="1200" b="1" kern="0" spc="-10" dirty="0">
                  <a:solidFill>
                    <a:srgbClr val="FFFFFF">
                      <a:alpha val="100000"/>
                    </a:srgb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</p:grpSp>
        <p:grpSp>
          <p:nvGrpSpPr>
            <p:cNvPr id="44" name="组合 43"/>
            <p:cNvGrpSpPr/>
            <p:nvPr/>
          </p:nvGrpSpPr>
          <p:grpSpPr>
            <a:xfrm rot="0">
              <a:off x="861" y="3793"/>
              <a:ext cx="2710" cy="1548"/>
              <a:chOff x="5191" y="3339"/>
              <a:chExt cx="4074" cy="2324"/>
            </a:xfrm>
          </p:grpSpPr>
          <p:sp>
            <p:nvSpPr>
              <p:cNvPr id="41" name="object 3"/>
              <p:cNvSpPr>
                <a:spLocks noChangeAspect="1"/>
              </p:cNvSpPr>
              <p:nvPr>
                <p:custDataLst>
                  <p:tags r:id="rId11"/>
                </p:custDataLst>
              </p:nvPr>
            </p:nvSpPr>
            <p:spPr>
              <a:xfrm>
                <a:off x="5191" y="3339"/>
                <a:ext cx="4072" cy="2324"/>
              </a:xfrm>
              <a:prstGeom prst="rect">
                <a:avLst/>
              </a:prstGeom>
              <a:blipFill>
                <a:blip r:embed="rId12" cstate="screen"/>
                <a:stretch>
                  <a:fillRect/>
                </a:stretch>
              </a:blipFill>
              <a:ln w="9525">
                <a:solidFill>
                  <a:srgbClr val="43A2B7"/>
                </a:solidFill>
              </a:ln>
            </p:spPr>
            <p:txBody>
              <a:bodyPr wrap="square" lIns="0" tIns="0" rIns="0" bIns="0" rtlCol="0"/>
              <a:p>
                <a:endParaRPr sz="1000">
                  <a:ln>
                    <a:solidFill>
                      <a:srgbClr val="104CC7"/>
                    </a:solidFill>
                  </a:ln>
                  <a:solidFill>
                    <a:schemeClr val="bg1"/>
                  </a:solidFill>
                  <a:ea typeface="微软雅黑" panose="020B0503020204020204" pitchFamily="34" charset="-122"/>
                  <a:cs typeface="微软雅黑" panose="020B0503020204020204" pitchFamily="34" charset="-122"/>
                </a:endParaRPr>
              </a:p>
            </p:txBody>
          </p:sp>
          <p:sp>
            <p:nvSpPr>
              <p:cNvPr id="42" name="object 34"/>
              <p:cNvSpPr/>
              <p:nvPr>
                <p:custDataLst>
                  <p:tags r:id="rId13"/>
                </p:custDataLst>
              </p:nvPr>
            </p:nvSpPr>
            <p:spPr>
              <a:xfrm>
                <a:off x="6535" y="4238"/>
                <a:ext cx="1675" cy="1355"/>
              </a:xfrm>
              <a:custGeom>
                <a:avLst/>
                <a:gdLst/>
                <a:ahLst/>
                <a:cxnLst/>
                <a:rect l="l" t="t" r="r" b="b"/>
                <a:pathLst>
                  <a:path w="2138679" h="1307464">
                    <a:moveTo>
                      <a:pt x="0" y="0"/>
                    </a:moveTo>
                    <a:lnTo>
                      <a:pt x="2138386" y="0"/>
                    </a:lnTo>
                    <a:lnTo>
                      <a:pt x="2138386" y="1307420"/>
                    </a:lnTo>
                    <a:lnTo>
                      <a:pt x="0" y="1307420"/>
                    </a:lnTo>
                    <a:lnTo>
                      <a:pt x="0" y="0"/>
                    </a:lnTo>
                    <a:close/>
                  </a:path>
                </a:pathLst>
              </a:custGeom>
              <a:gradFill>
                <a:gsLst>
                  <a:gs pos="50000">
                    <a:srgbClr val="6AACFE">
                      <a:alpha val="0"/>
                    </a:srgbClr>
                  </a:gs>
                  <a:gs pos="100000">
                    <a:srgbClr val="6AACFE">
                      <a:alpha val="70000"/>
                    </a:srgbClr>
                  </a:gs>
                </a:gsLst>
                <a:lin ang="5400000" scaled="1"/>
              </a:gradFill>
              <a:ln w="9525">
                <a:solidFill>
                  <a:schemeClr val="accent1"/>
                </a:solidFill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p>
                <a:pPr lvl="0" algn="ctr">
                  <a:buClrTx/>
                  <a:buSzTx/>
                  <a:buFontTx/>
                </a:pPr>
                <a:endParaRPr lang="zh-CN" altLang="en-US" sz="1000">
                  <a:sym typeface="+mn-ea"/>
                </a:endParaRPr>
              </a:p>
            </p:txBody>
          </p:sp>
          <p:sp>
            <p:nvSpPr>
              <p:cNvPr id="43" name="矩形 42"/>
              <p:cNvSpPr/>
              <p:nvPr>
                <p:custDataLst>
                  <p:tags r:id="rId14"/>
                </p:custDataLst>
              </p:nvPr>
            </p:nvSpPr>
            <p:spPr>
              <a:xfrm>
                <a:off x="7539" y="3339"/>
                <a:ext cx="1726" cy="566"/>
              </a:xfrm>
              <a:prstGeom prst="rect">
                <a:avLst/>
              </a:prstGeom>
              <a:gradFill flip="none" rotWithShape="1">
                <a:gsLst>
                  <a:gs pos="52000">
                    <a:srgbClr val="C00000"/>
                  </a:gs>
                  <a:gs pos="100000">
                    <a:schemeClr val="accent6"/>
                  </a:gs>
                </a:gsLst>
                <a:lin ang="2700000" scaled="0"/>
              </a:gradFill>
              <a:ln w="9525">
                <a:noFill/>
              </a:ln>
              <a:effectLst/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  <a:noAutofit/>
              </a:bodyPr>
              <a:lstStyle>
                <a:defPPr>
                  <a:defRPr lang="zh-CN">
                    <a:solidFill>
                      <a:schemeClr val="lt1"/>
                    </a:solidFill>
                  </a:defRPr>
                </a:defPPr>
                <a:lvl1pPr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1pPr>
                <a:lvl2pPr marL="4572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2pPr>
                <a:lvl3pPr marL="9144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3pPr>
                <a:lvl4pPr marL="13716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4pPr>
                <a:lvl5pPr marL="1828800" algn="l" rtl="0" eaLnBrk="0" fontAlgn="base" hangingPunct="0">
                  <a:spcBef>
                    <a:spcPct val="0"/>
                  </a:spcBef>
                  <a:spcAft>
                    <a:spcPct val="0"/>
                  </a:spcAft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5pPr>
                <a:lvl6pPr marL="22860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6pPr>
                <a:lvl7pPr marL="27432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7pPr>
                <a:lvl8pPr marL="32004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8pPr>
                <a:lvl9pPr marL="3657600" algn="l" defTabSz="914400" rtl="0" eaLnBrk="1" latinLnBrk="0" hangingPunct="1">
                  <a:defRPr kern="1200">
                    <a:solidFill>
                      <a:schemeClr val="lt1"/>
                    </a:solidFill>
                    <a:latin typeface="Arial" panose="020B0604020202020204" pitchFamily="34" charset="0"/>
                    <a:ea typeface="微软雅黑" panose="020B0503020204020204" pitchFamily="34" charset="-122"/>
                    <a:cs typeface="+mn-cs"/>
                  </a:defRPr>
                </a:lvl9pPr>
              </a:lstStyle>
              <a:p>
                <a:pPr lvl="0" algn="ctr" eaLnBrk="1" hangingPunct="1">
                  <a:spcBef>
                    <a:spcPts val="0"/>
                  </a:spcBef>
                  <a:spcAft>
                    <a:spcPts val="0"/>
                  </a:spcAft>
                  <a:buClrTx/>
                  <a:buSzTx/>
                  <a:buFontTx/>
                  <a:defRPr/>
                </a:pPr>
                <a:r>
                  <a:rPr lang="zh-CN" altLang="en-US" sz="900" b="1" noProof="0">
                    <a:ln>
                      <a:noFill/>
                    </a:ln>
                    <a:solidFill>
                      <a:schemeClr val="bg1"/>
                    </a:solidFill>
                    <a:effectLst/>
                    <a:uLnTx/>
                    <a:uFillTx/>
                    <a:latin typeface="+mn-lt"/>
                    <a:ea typeface="+mn-lt"/>
                    <a:sym typeface="+mn-ea"/>
                  </a:rPr>
                  <a:t>店外经营</a:t>
                </a:r>
                <a:endParaRPr lang="zh-CN" altLang="en-US" sz="900" b="1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lt"/>
                  <a:sym typeface="+mn-ea"/>
                </a:endParaRPr>
              </a:p>
            </p:txBody>
          </p:sp>
        </p:grpSp>
      </p:grpSp>
      <p:sp>
        <p:nvSpPr>
          <p:cNvPr id="54" name="文本框 53"/>
          <p:cNvSpPr txBox="1"/>
          <p:nvPr>
            <p:custDataLst>
              <p:tags r:id="rId15"/>
            </p:custDataLst>
          </p:nvPr>
        </p:nvSpPr>
        <p:spPr>
          <a:xfrm>
            <a:off x="5083175" y="1662430"/>
            <a:ext cx="1649730" cy="36512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algn="ctr"/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多事件检测</a:t>
            </a:r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复核</a:t>
            </a:r>
            <a:endParaRPr lang="zh-CN" sz="16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grpSp>
        <p:nvGrpSpPr>
          <p:cNvPr id="58" name="组合 57"/>
          <p:cNvGrpSpPr/>
          <p:nvPr/>
        </p:nvGrpSpPr>
        <p:grpSpPr>
          <a:xfrm>
            <a:off x="3009265" y="2484120"/>
            <a:ext cx="469900" cy="985520"/>
            <a:chOff x="4106" y="4128"/>
            <a:chExt cx="740" cy="1552"/>
          </a:xfrm>
        </p:grpSpPr>
        <p:sp>
          <p:nvSpPr>
            <p:cNvPr id="26" name="任意多边形 182"/>
            <p:cNvSpPr/>
            <p:nvPr>
              <p:custDataLst>
                <p:tags r:id="rId16"/>
              </p:custDataLst>
            </p:nvPr>
          </p:nvSpPr>
          <p:spPr>
            <a:xfrm rot="16200000" flipV="1">
              <a:off x="3770" y="4604"/>
              <a:ext cx="1553" cy="601"/>
            </a:xfrm>
            <a:custGeom>
              <a:avLst/>
              <a:gdLst>
                <a:gd name="connsiteX0" fmla="*/ 2836201 w 2836201"/>
                <a:gd name="connsiteY0" fmla="*/ 3789428 h 3789428"/>
                <a:gd name="connsiteX1" fmla="*/ 2711787 w 2836201"/>
                <a:gd name="connsiteY1" fmla="*/ 3682142 h 3789428"/>
                <a:gd name="connsiteX2" fmla="*/ 1888961 w 2836201"/>
                <a:gd name="connsiteY2" fmla="*/ 1207373 h 3789428"/>
                <a:gd name="connsiteX3" fmla="*/ 1897078 w 2836201"/>
                <a:gd name="connsiteY3" fmla="*/ 919610 h 3789428"/>
                <a:gd name="connsiteX4" fmla="*/ 1902386 w 2836201"/>
                <a:gd name="connsiteY4" fmla="*/ 857358 h 3789428"/>
                <a:gd name="connsiteX5" fmla="*/ 2275459 w 2836201"/>
                <a:gd name="connsiteY5" fmla="*/ 857358 h 3789428"/>
                <a:gd name="connsiteX6" fmla="*/ 1418101 w 2836201"/>
                <a:gd name="connsiteY6" fmla="*/ 0 h 3789428"/>
                <a:gd name="connsiteX7" fmla="*/ 560743 w 2836201"/>
                <a:gd name="connsiteY7" fmla="*/ 857358 h 3789428"/>
                <a:gd name="connsiteX8" fmla="*/ 933815 w 2836201"/>
                <a:gd name="connsiteY8" fmla="*/ 857358 h 3789428"/>
                <a:gd name="connsiteX9" fmla="*/ 939123 w 2836201"/>
                <a:gd name="connsiteY9" fmla="*/ 919610 h 3789428"/>
                <a:gd name="connsiteX10" fmla="*/ 947240 w 2836201"/>
                <a:gd name="connsiteY10" fmla="*/ 1207373 h 3789428"/>
                <a:gd name="connsiteX11" fmla="*/ 124414 w 2836201"/>
                <a:gd name="connsiteY11" fmla="*/ 3682142 h 3789428"/>
                <a:gd name="connsiteX12" fmla="*/ 0 w 2836201"/>
                <a:gd name="connsiteY12" fmla="*/ 3789428 h 3789428"/>
                <a:gd name="connsiteX13" fmla="*/ 56160 w 2836201"/>
                <a:gd name="connsiteY13" fmla="*/ 3789428 h 3789428"/>
                <a:gd name="connsiteX14" fmla="*/ 2780041 w 2836201"/>
                <a:gd name="connsiteY14" fmla="*/ 3789428 h 378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36201" h="3789428">
                  <a:moveTo>
                    <a:pt x="2836201" y="3789428"/>
                  </a:moveTo>
                  <a:lnTo>
                    <a:pt x="2711787" y="3682142"/>
                  </a:lnTo>
                  <a:cubicBezTo>
                    <a:pt x="2221675" y="3205543"/>
                    <a:pt x="1888961" y="2276012"/>
                    <a:pt x="1888961" y="1207373"/>
                  </a:cubicBezTo>
                  <a:cubicBezTo>
                    <a:pt x="1888961" y="1110224"/>
                    <a:pt x="1891711" y="1014224"/>
                    <a:pt x="1897078" y="919610"/>
                  </a:cubicBezTo>
                  <a:lnTo>
                    <a:pt x="1902386" y="857358"/>
                  </a:lnTo>
                  <a:lnTo>
                    <a:pt x="2275459" y="857358"/>
                  </a:lnTo>
                  <a:lnTo>
                    <a:pt x="1418101" y="0"/>
                  </a:lnTo>
                  <a:lnTo>
                    <a:pt x="560743" y="857358"/>
                  </a:lnTo>
                  <a:lnTo>
                    <a:pt x="933815" y="857358"/>
                  </a:lnTo>
                  <a:lnTo>
                    <a:pt x="939123" y="919610"/>
                  </a:lnTo>
                  <a:cubicBezTo>
                    <a:pt x="944490" y="1014224"/>
                    <a:pt x="947240" y="1110224"/>
                    <a:pt x="947240" y="1207373"/>
                  </a:cubicBezTo>
                  <a:cubicBezTo>
                    <a:pt x="947240" y="2276012"/>
                    <a:pt x="614527" y="3205543"/>
                    <a:pt x="124414" y="3682142"/>
                  </a:cubicBezTo>
                  <a:lnTo>
                    <a:pt x="0" y="3789428"/>
                  </a:lnTo>
                  <a:lnTo>
                    <a:pt x="56160" y="3789428"/>
                  </a:lnTo>
                  <a:lnTo>
                    <a:pt x="2780041" y="378942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42000">
                  <a:srgbClr val="F4DF99"/>
                </a:gs>
                <a:gs pos="100000">
                  <a:srgbClr val="F58D70"/>
                </a:gs>
              </a:gsLst>
              <a:lin ang="1926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9pPr>
            </a:lstStyle>
            <a:p>
              <a:pPr algn="ctr"/>
              <a:endParaRPr lang="zh-CN" altLang="en-US" sz="900"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55" name="文本框 54"/>
            <p:cNvSpPr txBox="1"/>
            <p:nvPr>
              <p:custDataLst>
                <p:tags r:id="rId17"/>
              </p:custDataLst>
            </p:nvPr>
          </p:nvSpPr>
          <p:spPr>
            <a:xfrm>
              <a:off x="4106" y="4267"/>
              <a:ext cx="664" cy="1278"/>
            </a:xfrm>
            <a:prstGeom prst="rect">
              <a:avLst/>
            </a:prstGeom>
            <a:noFill/>
          </p:spPr>
          <p:txBody>
            <a:bodyPr wrap="square" rtlCol="0" anchor="t">
              <a:noAutofit/>
            </a:bodyPr>
            <a:p>
              <a:pPr algn="ctr"/>
              <a:r>
                <a:rPr lang="zh-CN" sz="1200" dirty="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疑似事件</a:t>
              </a:r>
              <a:endParaRPr 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</p:grpSp>
      <p:grpSp>
        <p:nvGrpSpPr>
          <p:cNvPr id="57" name="组合 56"/>
          <p:cNvGrpSpPr/>
          <p:nvPr/>
        </p:nvGrpSpPr>
        <p:grpSpPr>
          <a:xfrm>
            <a:off x="3009265" y="4455795"/>
            <a:ext cx="434975" cy="985520"/>
            <a:chOff x="4186" y="7233"/>
            <a:chExt cx="685" cy="1552"/>
          </a:xfrm>
        </p:grpSpPr>
        <p:sp>
          <p:nvSpPr>
            <p:cNvPr id="13" name="任意多边形 182"/>
            <p:cNvSpPr/>
            <p:nvPr>
              <p:custDataLst>
                <p:tags r:id="rId18"/>
              </p:custDataLst>
            </p:nvPr>
          </p:nvSpPr>
          <p:spPr>
            <a:xfrm rot="16200000" flipV="1">
              <a:off x="3795" y="7709"/>
              <a:ext cx="1553" cy="601"/>
            </a:xfrm>
            <a:custGeom>
              <a:avLst/>
              <a:gdLst>
                <a:gd name="connsiteX0" fmla="*/ 2836201 w 2836201"/>
                <a:gd name="connsiteY0" fmla="*/ 3789428 h 3789428"/>
                <a:gd name="connsiteX1" fmla="*/ 2711787 w 2836201"/>
                <a:gd name="connsiteY1" fmla="*/ 3682142 h 3789428"/>
                <a:gd name="connsiteX2" fmla="*/ 1888961 w 2836201"/>
                <a:gd name="connsiteY2" fmla="*/ 1207373 h 3789428"/>
                <a:gd name="connsiteX3" fmla="*/ 1897078 w 2836201"/>
                <a:gd name="connsiteY3" fmla="*/ 919610 h 3789428"/>
                <a:gd name="connsiteX4" fmla="*/ 1902386 w 2836201"/>
                <a:gd name="connsiteY4" fmla="*/ 857358 h 3789428"/>
                <a:gd name="connsiteX5" fmla="*/ 2275459 w 2836201"/>
                <a:gd name="connsiteY5" fmla="*/ 857358 h 3789428"/>
                <a:gd name="connsiteX6" fmla="*/ 1418101 w 2836201"/>
                <a:gd name="connsiteY6" fmla="*/ 0 h 3789428"/>
                <a:gd name="connsiteX7" fmla="*/ 560743 w 2836201"/>
                <a:gd name="connsiteY7" fmla="*/ 857358 h 3789428"/>
                <a:gd name="connsiteX8" fmla="*/ 933815 w 2836201"/>
                <a:gd name="connsiteY8" fmla="*/ 857358 h 3789428"/>
                <a:gd name="connsiteX9" fmla="*/ 939123 w 2836201"/>
                <a:gd name="connsiteY9" fmla="*/ 919610 h 3789428"/>
                <a:gd name="connsiteX10" fmla="*/ 947240 w 2836201"/>
                <a:gd name="connsiteY10" fmla="*/ 1207373 h 3789428"/>
                <a:gd name="connsiteX11" fmla="*/ 124414 w 2836201"/>
                <a:gd name="connsiteY11" fmla="*/ 3682142 h 3789428"/>
                <a:gd name="connsiteX12" fmla="*/ 0 w 2836201"/>
                <a:gd name="connsiteY12" fmla="*/ 3789428 h 3789428"/>
                <a:gd name="connsiteX13" fmla="*/ 56160 w 2836201"/>
                <a:gd name="connsiteY13" fmla="*/ 3789428 h 3789428"/>
                <a:gd name="connsiteX14" fmla="*/ 2780041 w 2836201"/>
                <a:gd name="connsiteY14" fmla="*/ 3789428 h 37894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</a:cxnLst>
              <a:rect l="l" t="t" r="r" b="b"/>
              <a:pathLst>
                <a:path w="2836201" h="3789428">
                  <a:moveTo>
                    <a:pt x="2836201" y="3789428"/>
                  </a:moveTo>
                  <a:lnTo>
                    <a:pt x="2711787" y="3682142"/>
                  </a:lnTo>
                  <a:cubicBezTo>
                    <a:pt x="2221675" y="3205543"/>
                    <a:pt x="1888961" y="2276012"/>
                    <a:pt x="1888961" y="1207373"/>
                  </a:cubicBezTo>
                  <a:cubicBezTo>
                    <a:pt x="1888961" y="1110224"/>
                    <a:pt x="1891711" y="1014224"/>
                    <a:pt x="1897078" y="919610"/>
                  </a:cubicBezTo>
                  <a:lnTo>
                    <a:pt x="1902386" y="857358"/>
                  </a:lnTo>
                  <a:lnTo>
                    <a:pt x="2275459" y="857358"/>
                  </a:lnTo>
                  <a:lnTo>
                    <a:pt x="1418101" y="0"/>
                  </a:lnTo>
                  <a:lnTo>
                    <a:pt x="560743" y="857358"/>
                  </a:lnTo>
                  <a:lnTo>
                    <a:pt x="933815" y="857358"/>
                  </a:lnTo>
                  <a:lnTo>
                    <a:pt x="939123" y="919610"/>
                  </a:lnTo>
                  <a:cubicBezTo>
                    <a:pt x="944490" y="1014224"/>
                    <a:pt x="947240" y="1110224"/>
                    <a:pt x="947240" y="1207373"/>
                  </a:cubicBezTo>
                  <a:cubicBezTo>
                    <a:pt x="947240" y="2276012"/>
                    <a:pt x="614527" y="3205543"/>
                    <a:pt x="124414" y="3682142"/>
                  </a:cubicBezTo>
                  <a:lnTo>
                    <a:pt x="0" y="3789428"/>
                  </a:lnTo>
                  <a:lnTo>
                    <a:pt x="56160" y="3789428"/>
                  </a:lnTo>
                  <a:lnTo>
                    <a:pt x="2780041" y="3789428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accent1">
                    <a:lumMod val="5000"/>
                    <a:lumOff val="95000"/>
                  </a:schemeClr>
                </a:gs>
                <a:gs pos="42000">
                  <a:srgbClr val="F4DF99"/>
                </a:gs>
                <a:gs pos="100000">
                  <a:srgbClr val="F58D70"/>
                </a:gs>
              </a:gsLst>
              <a:lin ang="19260000" scaled="1"/>
            </a:gra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rtlCol="0" anchor="ctr">
              <a:noAutofit/>
            </a:bodyPr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9pPr>
            </a:lstStyle>
            <a:p>
              <a:pPr algn="ctr"/>
              <a:endParaRPr lang="zh-CN" altLang="en-US" sz="900">
                <a:latin typeface="微软雅黑" panose="020B0503020204020204" pitchFamily="34" charset="-122"/>
                <a:cs typeface="+mn-ea"/>
                <a:sym typeface="微软雅黑" panose="020B0503020204020204" pitchFamily="34" charset="-122"/>
              </a:endParaRPr>
            </a:p>
          </p:txBody>
        </p:sp>
        <p:sp>
          <p:nvSpPr>
            <p:cNvPr id="56" name="文本框 55"/>
            <p:cNvSpPr txBox="1"/>
            <p:nvPr>
              <p:custDataLst>
                <p:tags r:id="rId19"/>
              </p:custDataLst>
            </p:nvPr>
          </p:nvSpPr>
          <p:spPr>
            <a:xfrm>
              <a:off x="4186" y="7394"/>
              <a:ext cx="664" cy="1278"/>
            </a:xfrm>
            <a:prstGeom prst="rect">
              <a:avLst/>
            </a:prstGeom>
            <a:noFill/>
          </p:spPr>
          <p:txBody>
            <a:bodyPr wrap="square" rtlCol="0" anchor="t">
              <a:noAutofit/>
            </a:bodyPr>
            <a:p>
              <a:pPr algn="ctr"/>
              <a:r>
                <a:rPr lang="zh-CN" sz="1200" dirty="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疑似事件</a:t>
              </a:r>
              <a:endParaRPr 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</p:grpSp>
      <p:sp>
        <p:nvSpPr>
          <p:cNvPr id="59" name="椭圆 58"/>
          <p:cNvSpPr/>
          <p:nvPr/>
        </p:nvSpPr>
        <p:spPr>
          <a:xfrm>
            <a:off x="4730115" y="2668905"/>
            <a:ext cx="2414905" cy="1847850"/>
          </a:xfrm>
          <a:prstGeom prst="ellipse">
            <a:avLst/>
          </a:prstGeom>
          <a:ln>
            <a:solidFill>
              <a:srgbClr val="C00000"/>
            </a:solidFill>
          </a:ln>
        </p:spPr>
        <p:style>
          <a:lnRef idx="2">
            <a:schemeClr val="accent1"/>
          </a:lnRef>
          <a:fillRef idx="0">
            <a:srgbClr val="FFFFFF"/>
          </a:fillRef>
          <a:effectRef idx="0">
            <a:srgbClr val="FFFFFF"/>
          </a:effectRef>
          <a:fontRef idx="minor">
            <a:schemeClr val="dk1"/>
          </a:fontRef>
        </p:style>
        <p:txBody>
          <a:bodyPr rtlCol="0" anchor="ctr"/>
          <a:p>
            <a:pPr algn="ctr"/>
            <a:endParaRPr lang="zh-CN" altLang="en-US"/>
          </a:p>
        </p:txBody>
      </p:sp>
      <p:sp>
        <p:nvSpPr>
          <p:cNvPr id="60" name="矩形 59"/>
          <p:cNvSpPr/>
          <p:nvPr>
            <p:custDataLst>
              <p:tags r:id="rId20"/>
            </p:custDataLst>
          </p:nvPr>
        </p:nvSpPr>
        <p:spPr>
          <a:xfrm>
            <a:off x="4239895" y="2611120"/>
            <a:ext cx="674370" cy="247650"/>
          </a:xfrm>
          <a:prstGeom prst="rect">
            <a:avLst/>
          </a:prstGeom>
          <a:gradFill flip="none" rotWithShape="1">
            <a:gsLst>
              <a:gs pos="52000">
                <a:srgbClr val="C00000"/>
              </a:gs>
              <a:gs pos="100000">
                <a:schemeClr val="accent6"/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9pPr>
          </a:lstStyle>
          <a:p>
            <a:pPr lvl="0" algn="ctr" eaLnBrk="1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900" b="1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lt"/>
                <a:sym typeface="+mn-ea"/>
              </a:rPr>
              <a:t>沿街晾挂</a:t>
            </a:r>
            <a:endParaRPr lang="zh-CN" altLang="en-US" sz="900" b="1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lt"/>
              <a:sym typeface="+mn-ea"/>
            </a:endParaRPr>
          </a:p>
        </p:txBody>
      </p:sp>
      <p:sp>
        <p:nvSpPr>
          <p:cNvPr id="62" name="矩形 61"/>
          <p:cNvSpPr/>
          <p:nvPr>
            <p:custDataLst>
              <p:tags r:id="rId21"/>
            </p:custDataLst>
          </p:nvPr>
        </p:nvSpPr>
        <p:spPr>
          <a:xfrm>
            <a:off x="5541645" y="2341880"/>
            <a:ext cx="674370" cy="247650"/>
          </a:xfrm>
          <a:prstGeom prst="rect">
            <a:avLst/>
          </a:prstGeom>
          <a:gradFill flip="none" rotWithShape="1">
            <a:gsLst>
              <a:gs pos="52000">
                <a:srgbClr val="C00000"/>
              </a:gs>
              <a:gs pos="100000">
                <a:schemeClr val="accent6"/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9pPr>
          </a:lstStyle>
          <a:p>
            <a:pPr lvl="0" algn="ctr" eaLnBrk="1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900" b="1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lt"/>
                <a:sym typeface="+mn-ea"/>
              </a:rPr>
              <a:t>店外经营</a:t>
            </a:r>
            <a:endParaRPr lang="zh-CN" altLang="en-US" sz="900" b="1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lt"/>
              <a:sym typeface="+mn-ea"/>
            </a:endParaRPr>
          </a:p>
        </p:txBody>
      </p:sp>
      <p:sp>
        <p:nvSpPr>
          <p:cNvPr id="63" name="矩形 62"/>
          <p:cNvSpPr/>
          <p:nvPr>
            <p:custDataLst>
              <p:tags r:id="rId22"/>
            </p:custDataLst>
          </p:nvPr>
        </p:nvSpPr>
        <p:spPr>
          <a:xfrm>
            <a:off x="3991610" y="3434080"/>
            <a:ext cx="674370" cy="247650"/>
          </a:xfrm>
          <a:prstGeom prst="rect">
            <a:avLst/>
          </a:prstGeom>
          <a:gradFill flip="none" rotWithShape="1">
            <a:gsLst>
              <a:gs pos="52000">
                <a:srgbClr val="C00000"/>
              </a:gs>
              <a:gs pos="100000">
                <a:schemeClr val="accent6"/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9pPr>
          </a:lstStyle>
          <a:p>
            <a:pPr lvl="0" algn="ctr" eaLnBrk="1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900" b="1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lt"/>
                <a:sym typeface="+mn-ea"/>
              </a:rPr>
              <a:t>占道经营</a:t>
            </a:r>
            <a:endParaRPr lang="zh-CN" altLang="en-US" sz="900" b="1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lt"/>
              <a:sym typeface="+mn-ea"/>
            </a:endParaRPr>
          </a:p>
        </p:txBody>
      </p:sp>
      <p:sp>
        <p:nvSpPr>
          <p:cNvPr id="64" name="矩形 63"/>
          <p:cNvSpPr/>
          <p:nvPr>
            <p:custDataLst>
              <p:tags r:id="rId23"/>
            </p:custDataLst>
          </p:nvPr>
        </p:nvSpPr>
        <p:spPr>
          <a:xfrm>
            <a:off x="6859270" y="2604770"/>
            <a:ext cx="674370" cy="247650"/>
          </a:xfrm>
          <a:prstGeom prst="rect">
            <a:avLst/>
          </a:prstGeom>
          <a:gradFill flip="none" rotWithShape="1">
            <a:gsLst>
              <a:gs pos="52000">
                <a:srgbClr val="C00000"/>
              </a:gs>
              <a:gs pos="100000">
                <a:schemeClr val="accent6"/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9pPr>
          </a:lstStyle>
          <a:p>
            <a:pPr lvl="0" algn="ctr" eaLnBrk="1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900" b="1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lt"/>
                <a:sym typeface="+mn-ea"/>
              </a:rPr>
              <a:t>乱搭棚伞</a:t>
            </a:r>
            <a:endParaRPr lang="zh-CN" altLang="en-US" sz="900" b="1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lt"/>
              <a:sym typeface="+mn-ea"/>
            </a:endParaRPr>
          </a:p>
        </p:txBody>
      </p:sp>
      <p:sp>
        <p:nvSpPr>
          <p:cNvPr id="65" name="矩形 64"/>
          <p:cNvSpPr/>
          <p:nvPr>
            <p:custDataLst>
              <p:tags r:id="rId24"/>
            </p:custDataLst>
          </p:nvPr>
        </p:nvSpPr>
        <p:spPr>
          <a:xfrm>
            <a:off x="4084955" y="4244340"/>
            <a:ext cx="896620" cy="247650"/>
          </a:xfrm>
          <a:prstGeom prst="rect">
            <a:avLst/>
          </a:prstGeom>
          <a:gradFill flip="none" rotWithShape="1">
            <a:gsLst>
              <a:gs pos="52000">
                <a:srgbClr val="C00000"/>
              </a:gs>
              <a:gs pos="100000">
                <a:schemeClr val="accent6"/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9pPr>
          </a:lstStyle>
          <a:p>
            <a:pPr lvl="0" algn="ctr" eaLnBrk="1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900" b="1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lt"/>
                <a:sym typeface="+mn-ea"/>
              </a:rPr>
              <a:t>机动车乱停放</a:t>
            </a:r>
            <a:endParaRPr lang="zh-CN" altLang="en-US" sz="900" b="1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lt"/>
              <a:sym typeface="+mn-ea"/>
            </a:endParaRPr>
          </a:p>
        </p:txBody>
      </p:sp>
      <p:sp>
        <p:nvSpPr>
          <p:cNvPr id="66" name="矩形 65"/>
          <p:cNvSpPr/>
          <p:nvPr>
            <p:custDataLst>
              <p:tags r:id="rId25"/>
            </p:custDataLst>
          </p:nvPr>
        </p:nvSpPr>
        <p:spPr>
          <a:xfrm>
            <a:off x="7252335" y="3419475"/>
            <a:ext cx="674370" cy="247650"/>
          </a:xfrm>
          <a:prstGeom prst="rect">
            <a:avLst/>
          </a:prstGeom>
          <a:gradFill flip="none" rotWithShape="1">
            <a:gsLst>
              <a:gs pos="52000">
                <a:srgbClr val="C00000"/>
              </a:gs>
              <a:gs pos="100000">
                <a:schemeClr val="accent6"/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9pPr>
          </a:lstStyle>
          <a:p>
            <a:pPr lvl="0" algn="ctr" eaLnBrk="1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900" b="1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lt"/>
                <a:sym typeface="+mn-ea"/>
              </a:rPr>
              <a:t>乱堆物料</a:t>
            </a:r>
            <a:endParaRPr lang="zh-CN" altLang="en-US" sz="900" b="1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lt"/>
              <a:sym typeface="+mn-ea"/>
            </a:endParaRPr>
          </a:p>
        </p:txBody>
      </p:sp>
      <p:sp>
        <p:nvSpPr>
          <p:cNvPr id="67" name="矩形 66"/>
          <p:cNvSpPr/>
          <p:nvPr>
            <p:custDataLst>
              <p:tags r:id="rId26"/>
            </p:custDataLst>
          </p:nvPr>
        </p:nvSpPr>
        <p:spPr>
          <a:xfrm>
            <a:off x="5607050" y="4634865"/>
            <a:ext cx="674370" cy="247650"/>
          </a:xfrm>
          <a:prstGeom prst="rect">
            <a:avLst/>
          </a:prstGeom>
          <a:gradFill flip="none" rotWithShape="1">
            <a:gsLst>
              <a:gs pos="52000">
                <a:srgbClr val="C00000"/>
              </a:gs>
              <a:gs pos="100000">
                <a:schemeClr val="accent6"/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9pPr>
          </a:lstStyle>
          <a:p>
            <a:pPr lvl="0" algn="ctr" eaLnBrk="1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en-US" altLang="zh-CN" sz="900" b="1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lt"/>
                <a:sym typeface="+mn-ea"/>
              </a:rPr>
              <a:t>……</a:t>
            </a:r>
            <a:endParaRPr lang="en-US" altLang="zh-CN" sz="900" b="1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lt"/>
              <a:sym typeface="+mn-ea"/>
            </a:endParaRPr>
          </a:p>
        </p:txBody>
      </p:sp>
      <p:pic>
        <p:nvPicPr>
          <p:cNvPr id="68" name="图片 67"/>
          <p:cNvPicPr>
            <a:picLocks noChangeAspect="1"/>
          </p:cNvPicPr>
          <p:nvPr>
            <p:custDataLst>
              <p:tags r:id="rId27"/>
            </p:custDataLst>
          </p:nvPr>
        </p:nvPicPr>
        <p:blipFill>
          <a:blip r:embed="rId28"/>
          <a:stretch>
            <a:fillRect/>
          </a:stretch>
        </p:blipFill>
        <p:spPr>
          <a:xfrm>
            <a:off x="9196070" y="3858895"/>
            <a:ext cx="2604135" cy="1337310"/>
          </a:xfrm>
          <a:prstGeom prst="rect">
            <a:avLst/>
          </a:prstGeom>
        </p:spPr>
      </p:pic>
      <p:sp>
        <p:nvSpPr>
          <p:cNvPr id="69" name="文本框 68"/>
          <p:cNvSpPr txBox="1"/>
          <p:nvPr>
            <p:custDataLst>
              <p:tags r:id="rId29"/>
            </p:custDataLst>
          </p:nvPr>
        </p:nvSpPr>
        <p:spPr>
          <a:xfrm>
            <a:off x="5318125" y="4067175"/>
            <a:ext cx="1139190" cy="36512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algn="ctr"/>
            <a:r>
              <a:rPr 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迁移泛化</a:t>
            </a:r>
            <a:endParaRPr 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70" name="文本框 69"/>
          <p:cNvSpPr txBox="1"/>
          <p:nvPr>
            <p:custDataLst>
              <p:tags r:id="rId30"/>
            </p:custDataLst>
          </p:nvPr>
        </p:nvSpPr>
        <p:spPr>
          <a:xfrm>
            <a:off x="4538345" y="3427095"/>
            <a:ext cx="1277620" cy="36512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algn="ctr"/>
            <a:r>
              <a:rPr 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全图理解</a:t>
            </a:r>
            <a:endParaRPr 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71" name="文本框 70"/>
          <p:cNvSpPr txBox="1"/>
          <p:nvPr>
            <p:custDataLst>
              <p:tags r:id="rId31"/>
            </p:custDataLst>
          </p:nvPr>
        </p:nvSpPr>
        <p:spPr>
          <a:xfrm>
            <a:off x="5264785" y="2830830"/>
            <a:ext cx="1277620" cy="36512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algn="ctr"/>
            <a:r>
              <a:rPr 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多事件</a:t>
            </a:r>
            <a:r>
              <a:rPr 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检测</a:t>
            </a:r>
            <a:endParaRPr 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72" name="文本框 71"/>
          <p:cNvSpPr txBox="1"/>
          <p:nvPr>
            <p:custDataLst>
              <p:tags r:id="rId32"/>
            </p:custDataLst>
          </p:nvPr>
        </p:nvSpPr>
        <p:spPr>
          <a:xfrm>
            <a:off x="6015990" y="3431540"/>
            <a:ext cx="1277620" cy="36512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algn="ctr"/>
            <a:r>
              <a:rPr 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可解释性</a:t>
            </a:r>
            <a:r>
              <a:rPr 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可靠</a:t>
            </a:r>
            <a:endParaRPr 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75" name="文本框 74"/>
          <p:cNvSpPr txBox="1"/>
          <p:nvPr>
            <p:custDataLst>
              <p:tags r:id="rId33"/>
            </p:custDataLst>
          </p:nvPr>
        </p:nvSpPr>
        <p:spPr>
          <a:xfrm>
            <a:off x="2963545" y="3724275"/>
            <a:ext cx="561340" cy="23241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algn="ctr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70%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76" name="文本框 75"/>
          <p:cNvSpPr txBox="1"/>
          <p:nvPr>
            <p:custDataLst>
              <p:tags r:id="rId34"/>
            </p:custDataLst>
          </p:nvPr>
        </p:nvSpPr>
        <p:spPr>
          <a:xfrm>
            <a:off x="8405495" y="3543935"/>
            <a:ext cx="561340" cy="232410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algn="ctr"/>
            <a:r>
              <a:rPr lang="en-US" altLang="zh-CN" sz="12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95%</a:t>
            </a:r>
            <a:endParaRPr lang="en-US" altLang="zh-CN" sz="12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77" name="文本框 76"/>
          <p:cNvSpPr txBox="1"/>
          <p:nvPr>
            <p:custDataLst>
              <p:tags r:id="rId35"/>
            </p:custDataLst>
          </p:nvPr>
        </p:nvSpPr>
        <p:spPr>
          <a:xfrm>
            <a:off x="9664700" y="1662430"/>
            <a:ext cx="1649730" cy="36512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algn="ctr"/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事件</a:t>
            </a:r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告警处置</a:t>
            </a:r>
            <a:endParaRPr lang="zh-CN" sz="16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78" name="文本框 77"/>
          <p:cNvSpPr txBox="1"/>
          <p:nvPr>
            <p:custDataLst>
              <p:tags r:id="rId36"/>
            </p:custDataLst>
          </p:nvPr>
        </p:nvSpPr>
        <p:spPr>
          <a:xfrm>
            <a:off x="509270" y="6062980"/>
            <a:ext cx="2657475" cy="36512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algn="ctr"/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大量</a:t>
            </a:r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视频秒级抽帧</a:t>
            </a:r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实时检测</a:t>
            </a:r>
            <a:endParaRPr lang="zh-CN" sz="16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79" name="文本框 78"/>
          <p:cNvSpPr txBox="1"/>
          <p:nvPr>
            <p:custDataLst>
              <p:tags r:id="rId37"/>
            </p:custDataLst>
          </p:nvPr>
        </p:nvSpPr>
        <p:spPr>
          <a:xfrm>
            <a:off x="4667250" y="6062980"/>
            <a:ext cx="2563495" cy="365125"/>
          </a:xfrm>
          <a:prstGeom prst="rect">
            <a:avLst/>
          </a:prstGeom>
          <a:noFill/>
        </p:spPr>
        <p:txBody>
          <a:bodyPr wrap="square" rtlCol="0" anchor="t">
            <a:noAutofit/>
          </a:bodyPr>
          <a:p>
            <a:pPr algn="ctr"/>
            <a:r>
              <a:rPr lang="zh-CN" sz="1600" dirty="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检测结果二次精准审核</a:t>
            </a:r>
            <a:endParaRPr lang="zh-CN" sz="1600" dirty="0"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pic>
        <p:nvPicPr>
          <p:cNvPr id="80" name="图片 79"/>
          <p:cNvPicPr/>
          <p:nvPr>
            <p:custDataLst>
              <p:tags r:id="rId38"/>
            </p:custDataLst>
          </p:nvPr>
        </p:nvPicPr>
        <p:blipFill>
          <a:blip r:embed="rId39"/>
          <a:stretch>
            <a:fillRect/>
          </a:stretch>
        </p:blipFill>
        <p:spPr>
          <a:xfrm>
            <a:off x="9196070" y="2426335"/>
            <a:ext cx="2602800" cy="1335600"/>
          </a:xfrm>
          <a:prstGeom prst="rect">
            <a:avLst/>
          </a:prstGeom>
        </p:spPr>
      </p:pic>
    </p:spTree>
  </p:cSld>
  <p:clrMapOvr>
    <a:masterClrMapping/>
  </p:clrMapOvr>
  <mc:AlternateContent xmlns:mc="http://schemas.openxmlformats.org/markup-compatibility/2006">
    <mc:Choice xmlns:p14="http://schemas.microsoft.com/office/powerpoint/2010/main" Requires="p14">
      <p:transition spd="med" p14:dur="700">
        <p:fade/>
      </p:transition>
    </mc:Choice>
    <mc:Fallback>
      <p:transition spd="med">
        <p:fade/>
      </p:transition>
    </mc:Fallback>
  </mc:AlternateContent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410704" y="1360493"/>
            <a:ext cx="6098584" cy="4974956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6664271" y="1360493"/>
            <a:ext cx="5052447" cy="2588217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6664325" y="4275455"/>
            <a:ext cx="5052695" cy="2059940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5" name="标题 1"/>
          <p:cNvSpPr txBox="1"/>
          <p:nvPr>
            <p:custDataLst>
              <p:tags r:id="rId1"/>
            </p:custDataLst>
          </p:nvPr>
        </p:nvSpPr>
        <p:spPr>
          <a:xfrm>
            <a:off x="533436" y="390115"/>
            <a:ext cx="10969716" cy="462021"/>
          </a:xfrm>
          <a:prstGeom prst="rect">
            <a:avLst/>
          </a:prstGeom>
        </p:spPr>
        <p:txBody>
          <a:bodyPr anchor="t" anchorCtr="0"/>
          <a:lstStyle>
            <a:lvl1pPr algn="l" defTabSz="11861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5" b="1" kern="1200">
                <a:solidFill>
                  <a:srgbClr val="99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marL="0" marR="0" lvl="0" indent="0" algn="l" defTabSz="118618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kumimoji="0" lang="zh-CN" sz="2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微软雅黑" panose="020B0503020204020204" pitchFamily="34" charset="-122"/>
              </a:rPr>
              <a:t>门前四包</a:t>
            </a:r>
            <a:r>
              <a:rPr kumimoji="0" lang="zh-CN" alt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微软雅黑" panose="020B0503020204020204" pitchFamily="34" charset="-122"/>
              </a:rPr>
              <a:t>监管助手</a:t>
            </a:r>
            <a:r>
              <a:rPr kumimoji="0" lang="en-US" altLang="zh-CN" sz="2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微软雅黑" panose="020B0503020204020204" pitchFamily="34" charset="-122"/>
              </a:rPr>
              <a:t>-</a:t>
            </a:r>
            <a:r>
              <a:rPr kumimoji="0" lang="zh-CN" altLang="en-US" sz="2400" b="1" i="1" u="none" strike="noStrike" kern="1200" cap="none" spc="0" normalizeH="0" baseline="0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  <a:sym typeface="微软雅黑" panose="020B0503020204020204" pitchFamily="34" charset="-122"/>
              </a:rPr>
              <a:t>大模型处置核查</a:t>
            </a:r>
            <a:endParaRPr kumimoji="0" lang="zh-CN" altLang="en-US" sz="2400" b="1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  <a:sym typeface="微软雅黑" panose="020B0503020204020204" pitchFamily="34" charset="-122"/>
            </a:endParaRPr>
          </a:p>
        </p:txBody>
      </p:sp>
      <p:grpSp>
        <p:nvGrpSpPr>
          <p:cNvPr id="8" name="组合 7"/>
          <p:cNvGrpSpPr/>
          <p:nvPr/>
        </p:nvGrpSpPr>
        <p:grpSpPr>
          <a:xfrm>
            <a:off x="638810" y="1870710"/>
            <a:ext cx="5769610" cy="2187575"/>
            <a:chOff x="1006" y="2634"/>
            <a:chExt cx="10396" cy="3445"/>
          </a:xfrm>
        </p:grpSpPr>
        <p:sp>
          <p:nvSpPr>
            <p:cNvPr id="88" name="矩形 87"/>
            <p:cNvSpPr/>
            <p:nvPr>
              <p:custDataLst>
                <p:tags r:id="rId2"/>
              </p:custDataLst>
            </p:nvPr>
          </p:nvSpPr>
          <p:spPr>
            <a:xfrm>
              <a:off x="1006" y="2634"/>
              <a:ext cx="10396" cy="3445"/>
            </a:xfrm>
            <a:prstGeom prst="rect">
              <a:avLst/>
            </a:prstGeom>
            <a:noFill/>
            <a:ln>
              <a:solidFill>
                <a:schemeClr val="bg1">
                  <a:lumMod val="50000"/>
                </a:schemeClr>
              </a:solidFill>
              <a:prstDash val="dash"/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0" name="矩形 89"/>
            <p:cNvSpPr/>
            <p:nvPr>
              <p:custDataLst>
                <p:tags r:id="rId3"/>
              </p:custDataLst>
            </p:nvPr>
          </p:nvSpPr>
          <p:spPr>
            <a:xfrm>
              <a:off x="3177" y="3148"/>
              <a:ext cx="1161" cy="1512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事件处理情况</a:t>
              </a: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上报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95" name="矩形 94"/>
            <p:cNvSpPr/>
            <p:nvPr>
              <p:custDataLst>
                <p:tags r:id="rId4"/>
              </p:custDataLst>
            </p:nvPr>
          </p:nvSpPr>
          <p:spPr>
            <a:xfrm>
              <a:off x="5425" y="3148"/>
              <a:ext cx="3042" cy="2519"/>
            </a:xfrm>
            <a:prstGeom prst="rect">
              <a:avLst/>
            </a:prstGeom>
            <a:solidFill>
              <a:schemeClr val="bg1">
                <a:lumMod val="75000"/>
              </a:scheme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horz" rtlCol="0" anchor="t" anchorCtr="0"/>
            <a:p>
              <a:pPr algn="ctr"/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大模型复核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96" name="矩形 95"/>
            <p:cNvSpPr/>
            <p:nvPr>
              <p:custDataLst>
                <p:tags r:id="rId5"/>
              </p:custDataLst>
            </p:nvPr>
          </p:nvSpPr>
          <p:spPr>
            <a:xfrm>
              <a:off x="9745" y="3148"/>
              <a:ext cx="940" cy="2519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="eaVert" rtlCol="0" anchor="ctr"/>
            <a:p>
              <a:pPr algn="ctr"/>
              <a:r>
                <a:rPr lang="zh-CN" sz="1600">
                  <a:latin typeface="微软雅黑" panose="020B0503020204020204" pitchFamily="34" charset="-122"/>
                  <a:ea typeface="微软雅黑" panose="020B0503020204020204" pitchFamily="34" charset="-122"/>
                </a:rPr>
                <a:t>事件归档</a:t>
              </a:r>
              <a:endParaRPr lang="zh-CN" sz="16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99" name="右箭头 98"/>
            <p:cNvSpPr/>
            <p:nvPr>
              <p:custDataLst>
                <p:tags r:id="rId6"/>
              </p:custDataLst>
            </p:nvPr>
          </p:nvSpPr>
          <p:spPr>
            <a:xfrm>
              <a:off x="2346" y="3721"/>
              <a:ext cx="680" cy="264"/>
            </a:xfrm>
            <a:prstGeom prst="rightArrow">
              <a:avLst/>
            </a:prstGeom>
            <a:solidFill>
              <a:srgbClr val="104CC7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6" name="右箭头 5"/>
            <p:cNvSpPr/>
            <p:nvPr>
              <p:custDataLst>
                <p:tags r:id="rId7"/>
              </p:custDataLst>
            </p:nvPr>
          </p:nvSpPr>
          <p:spPr>
            <a:xfrm>
              <a:off x="8153" y="4912"/>
              <a:ext cx="1398" cy="264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endPara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endParaRPr>
            </a:p>
          </p:txBody>
        </p:sp>
        <p:sp>
          <p:nvSpPr>
            <p:cNvPr id="17" name="矩形 16"/>
            <p:cNvSpPr/>
            <p:nvPr>
              <p:custDataLst>
                <p:tags r:id="rId8"/>
              </p:custDataLst>
            </p:nvPr>
          </p:nvSpPr>
          <p:spPr>
            <a:xfrm>
              <a:off x="1256" y="3148"/>
              <a:ext cx="940" cy="2519"/>
            </a:xfrm>
            <a:prstGeom prst="rect">
              <a:avLst/>
            </a:prstGeom>
            <a:solidFill>
              <a:srgbClr val="595959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overflow" horzOverflow="overflow" vert="eaVert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zh-CN" altLang="en-US" sz="1600"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事件派发</a:t>
              </a:r>
              <a:endParaRPr lang="zh-CN" altLang="en-US" sz="1600"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18" name="菱形 17"/>
            <p:cNvSpPr/>
            <p:nvPr>
              <p:custDataLst>
                <p:tags r:id="rId9"/>
              </p:custDataLst>
            </p:nvPr>
          </p:nvSpPr>
          <p:spPr>
            <a:xfrm>
              <a:off x="5829" y="4737"/>
              <a:ext cx="2233" cy="615"/>
            </a:xfrm>
            <a:prstGeom prst="diamond">
              <a:avLst/>
            </a:prstGeom>
            <a:gradFill>
              <a:gsLst>
                <a:gs pos="50000">
                  <a:schemeClr val="accent1"/>
                </a:gs>
                <a:gs pos="0">
                  <a:schemeClr val="accent1">
                    <a:lumMod val="25000"/>
                    <a:lumOff val="75000"/>
                  </a:schemeClr>
                </a:gs>
                <a:gs pos="100000">
                  <a:schemeClr val="accent1">
                    <a:lumMod val="85000"/>
                  </a:schemeClr>
                </a:gs>
              </a:gsLst>
              <a:lin ang="5400000" scaled="1"/>
            </a:gradFill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000" b="1">
                  <a:latin typeface="微软雅黑" panose="020B0503020204020204" pitchFamily="34" charset="-122"/>
                  <a:ea typeface="微软雅黑" panose="020B0503020204020204" pitchFamily="34" charset="-122"/>
                </a:rPr>
                <a:t>是否完成</a:t>
              </a:r>
              <a:endParaRPr lang="zh-CN" altLang="en-US" sz="1000" b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0" name="矩形 19"/>
            <p:cNvSpPr/>
            <p:nvPr>
              <p:custDataLst>
                <p:tags r:id="rId10"/>
              </p:custDataLst>
            </p:nvPr>
          </p:nvSpPr>
          <p:spPr>
            <a:xfrm>
              <a:off x="5815" y="3721"/>
              <a:ext cx="2231" cy="546"/>
            </a:xfrm>
            <a:prstGeom prst="rect">
              <a:avLst/>
            </a:prstGeom>
            <a:gradFill>
              <a:gsLst>
                <a:gs pos="50000">
                  <a:schemeClr val="accent1"/>
                </a:gs>
                <a:gs pos="0">
                  <a:schemeClr val="accent1">
                    <a:lumMod val="25000"/>
                    <a:lumOff val="75000"/>
                  </a:schemeClr>
                </a:gs>
                <a:gs pos="100000">
                  <a:schemeClr val="accent1">
                    <a:lumMod val="85000"/>
                  </a:schemeClr>
                </a:gs>
              </a:gsLst>
              <a:lin ang="5400000" scaled="1"/>
            </a:gradFill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r>
                <a:rPr lang="zh-CN" altLang="en-US" sz="1200" b="1">
                  <a:latin typeface="微软雅黑" panose="020B0503020204020204" pitchFamily="34" charset="-122"/>
                  <a:ea typeface="微软雅黑" panose="020B0503020204020204" pitchFamily="34" charset="-122"/>
                </a:rPr>
                <a:t>二次检测</a:t>
              </a:r>
              <a:endParaRPr lang="zh-CN" altLang="en-US" sz="1200" b="1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1" name="右箭头 20"/>
            <p:cNvSpPr/>
            <p:nvPr>
              <p:custDataLst>
                <p:tags r:id="rId11"/>
              </p:custDataLst>
            </p:nvPr>
          </p:nvSpPr>
          <p:spPr>
            <a:xfrm>
              <a:off x="4442" y="3862"/>
              <a:ext cx="1293" cy="264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endPara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endParaRPr>
            </a:p>
          </p:txBody>
        </p:sp>
        <p:sp>
          <p:nvSpPr>
            <p:cNvPr id="101" name="右箭头 100"/>
            <p:cNvSpPr/>
            <p:nvPr>
              <p:custDataLst>
                <p:tags r:id="rId12"/>
              </p:custDataLst>
            </p:nvPr>
          </p:nvSpPr>
          <p:spPr>
            <a:xfrm rot="5400000">
              <a:off x="6709" y="4399"/>
              <a:ext cx="448" cy="264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endPara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endParaRPr>
            </a:p>
          </p:txBody>
        </p:sp>
        <p:sp>
          <p:nvSpPr>
            <p:cNvPr id="23" name="文本框 22"/>
            <p:cNvSpPr txBox="1"/>
            <p:nvPr>
              <p:custDataLst>
                <p:tags r:id="rId13"/>
              </p:custDataLst>
            </p:nvPr>
          </p:nvSpPr>
          <p:spPr>
            <a:xfrm>
              <a:off x="4113" y="3428"/>
              <a:ext cx="1873" cy="411"/>
            </a:xfrm>
            <a:prstGeom prst="rect">
              <a:avLst/>
            </a:prstGeom>
            <a:noFill/>
          </p:spPr>
          <p:txBody>
            <a:bodyPr wrap="square" rtlCol="0" anchor="t">
              <a:noAutofit/>
            </a:bodyPr>
            <a:p>
              <a:pPr algn="ctr"/>
              <a:r>
                <a:rPr lang="zh-CN" sz="12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规定时间后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25" name="右箭头 24"/>
            <p:cNvSpPr/>
            <p:nvPr>
              <p:custDataLst>
                <p:tags r:id="rId14"/>
              </p:custDataLst>
            </p:nvPr>
          </p:nvSpPr>
          <p:spPr>
            <a:xfrm rot="10800000">
              <a:off x="2258" y="4912"/>
              <a:ext cx="3566" cy="264"/>
            </a:xfrm>
            <a:prstGeom prst="rightArrow">
              <a:avLst/>
            </a:prstGeom>
            <a:solidFill>
              <a:srgbClr val="00B0F0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ctr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endParaRPr lang="zh-CN" altLang="en-US" sz="1600" b="1">
                <a:latin typeface="微软雅黑" panose="020B0503020204020204" pitchFamily="34" charset="-122"/>
                <a:ea typeface="微软雅黑" panose="020B0503020204020204" pitchFamily="34" charset="-122"/>
                <a:cs typeface="+mn-ea"/>
                <a:sym typeface="+mn-ea"/>
              </a:endParaRPr>
            </a:p>
          </p:txBody>
        </p:sp>
        <p:sp>
          <p:nvSpPr>
            <p:cNvPr id="7" name="文本框 6"/>
            <p:cNvSpPr txBox="1"/>
            <p:nvPr>
              <p:custDataLst>
                <p:tags r:id="rId15"/>
              </p:custDataLst>
            </p:nvPr>
          </p:nvSpPr>
          <p:spPr>
            <a:xfrm>
              <a:off x="3176" y="5176"/>
              <a:ext cx="545" cy="43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r>
                <a:rPr lang="zh-CN" sz="12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否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31" name="文本框 30"/>
            <p:cNvSpPr txBox="1"/>
            <p:nvPr>
              <p:custDataLst>
                <p:tags r:id="rId16"/>
              </p:custDataLst>
            </p:nvPr>
          </p:nvSpPr>
          <p:spPr>
            <a:xfrm>
              <a:off x="8720" y="5176"/>
              <a:ext cx="545" cy="434"/>
            </a:xfrm>
            <a:prstGeom prst="rect">
              <a:avLst/>
            </a:prstGeom>
            <a:noFill/>
          </p:spPr>
          <p:txBody>
            <a:bodyPr wrap="square" rtlCol="0" anchor="t">
              <a:spAutoFit/>
            </a:bodyPr>
            <a:p>
              <a:r>
                <a:rPr lang="zh-CN" sz="1200" dirty="0"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  <a:sym typeface="+mn-ea"/>
                </a:rPr>
                <a:t>是</a:t>
              </a:r>
              <a:endParaRPr lang="zh-CN" altLang="en-US" sz="1200" dirty="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endParaRPr>
            </a:p>
          </p:txBody>
        </p:sp>
      </p:grpSp>
      <p:sp>
        <p:nvSpPr>
          <p:cNvPr id="93" name="矩形 92"/>
          <p:cNvSpPr/>
          <p:nvPr>
            <p:custDataLst>
              <p:tags r:id="rId17"/>
            </p:custDataLst>
          </p:nvPr>
        </p:nvSpPr>
        <p:spPr>
          <a:xfrm>
            <a:off x="506730" y="1419225"/>
            <a:ext cx="1143000" cy="41021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逻辑</a:t>
            </a:r>
            <a:endParaRPr lang="zh-CN" altLang="en-US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>
            <p:custDataLst>
              <p:tags r:id="rId18"/>
            </p:custDataLst>
          </p:nvPr>
        </p:nvSpPr>
        <p:spPr>
          <a:xfrm>
            <a:off x="6746875" y="1469390"/>
            <a:ext cx="1368000" cy="41021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r>
              <a:rPr lang="zh-CN" altLang="en-US" dirty="0">
                <a:solidFill>
                  <a:srgbClr val="000000"/>
                </a:solidFill>
                <a:sym typeface="+mn-ea"/>
              </a:rPr>
              <a:t>解决的问题</a:t>
            </a:r>
            <a:endParaRPr lang="zh-CN" altLang="en-US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>
            <p:custDataLst>
              <p:tags r:id="rId19"/>
            </p:custDataLst>
          </p:nvPr>
        </p:nvSpPr>
        <p:spPr>
          <a:xfrm>
            <a:off x="6766560" y="4407535"/>
            <a:ext cx="1367790" cy="41021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r>
              <a:rPr lang="zh-CN" altLang="en-US" dirty="0">
                <a:solidFill>
                  <a:srgbClr val="000000"/>
                </a:solidFill>
                <a:sym typeface="+mn-ea"/>
              </a:rPr>
              <a:t>价值</a:t>
            </a:r>
            <a:r>
              <a:rPr lang="zh-CN" altLang="en-US" dirty="0">
                <a:solidFill>
                  <a:srgbClr val="000000"/>
                </a:solidFill>
                <a:sym typeface="+mn-ea"/>
              </a:rPr>
              <a:t>成效</a:t>
            </a:r>
            <a:endParaRPr lang="zh-CN" altLang="en-US" dirty="0">
              <a:solidFill>
                <a:srgbClr val="000000"/>
              </a:solidFill>
              <a:sym typeface="+mn-ea"/>
            </a:endParaRPr>
          </a:p>
        </p:txBody>
      </p:sp>
      <p:sp>
        <p:nvSpPr>
          <p:cNvPr id="11" name="矩形 10"/>
          <p:cNvSpPr/>
          <p:nvPr>
            <p:custDataLst>
              <p:tags r:id="rId20"/>
            </p:custDataLst>
          </p:nvPr>
        </p:nvSpPr>
        <p:spPr>
          <a:xfrm>
            <a:off x="1061720" y="4512310"/>
            <a:ext cx="398145" cy="1368425"/>
          </a:xfrm>
          <a:prstGeom prst="rect">
            <a:avLst/>
          </a:prstGeom>
          <a:gradFill flip="none" rotWithShape="1">
            <a:gsLst>
              <a:gs pos="52000">
                <a:srgbClr val="C00000"/>
              </a:gs>
              <a:gs pos="100000">
                <a:schemeClr val="accent6"/>
              </a:gs>
            </a:gsLst>
            <a:lin ang="2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lstStyle>
            <a:defPPr>
              <a:defRPr lang="zh-CN">
                <a:solidFill>
                  <a:schemeClr val="lt1"/>
                </a:solidFill>
              </a:defRPr>
            </a:defPPr>
            <a:lvl1pPr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1pPr>
            <a:lvl2pPr marL="4572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2pPr>
            <a:lvl3pPr marL="9144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3pPr>
            <a:lvl4pPr marL="13716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4pPr>
            <a:lvl5pPr marL="1828800" algn="l" rtl="0" eaLnBrk="0" fontAlgn="base" hangingPunct="0">
              <a:spcBef>
                <a:spcPct val="0"/>
              </a:spcBef>
              <a:spcAft>
                <a:spcPct val="0"/>
              </a:spcAft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5pPr>
            <a:lvl6pPr marL="22860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6pPr>
            <a:lvl7pPr marL="27432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7pPr>
            <a:lvl8pPr marL="32004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8pPr>
            <a:lvl9pPr marL="3657600" algn="l" defTabSz="914400" rtl="0" eaLnBrk="1" latinLnBrk="0" hangingPunct="1">
              <a:defRPr kern="1200">
                <a:solidFill>
                  <a:schemeClr val="lt1"/>
                </a:solidFill>
                <a:latin typeface="Arial" panose="020B0604020202020204" pitchFamily="34" charset="0"/>
                <a:ea typeface="微软雅黑" panose="020B0503020204020204" pitchFamily="34" charset="-122"/>
                <a:cs typeface="+mn-cs"/>
              </a:defRPr>
            </a:lvl9pPr>
          </a:lstStyle>
          <a:p>
            <a:pPr lvl="0" algn="ctr" eaLnBrk="1" hangingPunct="1">
              <a:spcBef>
                <a:spcPts val="0"/>
              </a:spcBef>
              <a:spcAft>
                <a:spcPts val="0"/>
              </a:spcAft>
              <a:buClrTx/>
              <a:buSzTx/>
              <a:buFontTx/>
              <a:defRPr/>
            </a:pPr>
            <a:r>
              <a:rPr lang="zh-CN" altLang="en-US" sz="1400" b="1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lt"/>
                <a:sym typeface="+mn-ea"/>
              </a:rPr>
              <a:t>处置评估</a:t>
            </a:r>
            <a:endParaRPr lang="zh-CN" altLang="en-US" sz="1400" b="1" noProof="0">
              <a:ln>
                <a:noFill/>
              </a:ln>
              <a:solidFill>
                <a:schemeClr val="bg1"/>
              </a:solidFill>
              <a:effectLst/>
              <a:uLnTx/>
              <a:uFillTx/>
              <a:latin typeface="+mn-lt"/>
              <a:ea typeface="+mn-lt"/>
              <a:sym typeface="+mn-ea"/>
            </a:endParaRPr>
          </a:p>
        </p:txBody>
      </p:sp>
      <p:sp>
        <p:nvSpPr>
          <p:cNvPr id="12" name="文本框 11"/>
          <p:cNvSpPr txBox="1"/>
          <p:nvPr>
            <p:custDataLst>
              <p:tags r:id="rId21"/>
            </p:custDataLst>
          </p:nvPr>
        </p:nvSpPr>
        <p:spPr>
          <a:xfrm>
            <a:off x="1590040" y="4602480"/>
            <a:ext cx="4399280" cy="119443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lvl="0" algn="just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①：现场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处置人员的事件处置流程是符合规定要求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；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lvl="0" algn="just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②：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现场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处置人员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上传的过程资料数据是否合规；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lvl="0" algn="just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③：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现场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处置人员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处置时间节点是否满足要求。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3" name="文本框 12"/>
          <p:cNvSpPr txBox="1"/>
          <p:nvPr>
            <p:custDataLst>
              <p:tags r:id="rId22"/>
            </p:custDataLst>
          </p:nvPr>
        </p:nvSpPr>
        <p:spPr>
          <a:xfrm>
            <a:off x="6760210" y="2072005"/>
            <a:ext cx="4671060" cy="119443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lvl="0" algn="just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①：事件处置虚假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上报；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lvl="0" algn="just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②：事件处置流程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时限不合规；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lvl="0" algn="just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③：人工审核工作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量大。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4" name="文本框 13"/>
          <p:cNvSpPr txBox="1"/>
          <p:nvPr>
            <p:custDataLst>
              <p:tags r:id="rId23"/>
            </p:custDataLst>
          </p:nvPr>
        </p:nvSpPr>
        <p:spPr>
          <a:xfrm>
            <a:off x="6798945" y="4902835"/>
            <a:ext cx="4682490" cy="119443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lvl="0" algn="just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打造智能化的事件处置监督手段，形成事件发现、告警、分拨、处置、审核全流程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智能化闭环。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27" name="文本框 26"/>
          <p:cNvSpPr txBox="1"/>
          <p:nvPr>
            <p:custDataLst>
              <p:tags r:id="rId24"/>
            </p:custDataLst>
          </p:nvPr>
        </p:nvSpPr>
        <p:spPr>
          <a:xfrm>
            <a:off x="1365885" y="988060"/>
            <a:ext cx="994918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>
              <a:buFont typeface="Arial" panose="020B0604020202020204" pitchFamily="34" charset="0"/>
              <a:buNone/>
            </a:pPr>
            <a:r>
              <a:rPr lang="zh-CN" sz="1600" dirty="0" smtClean="0">
                <a:latin typeface="微软雅黑" panose="020B0503020204020204" pitchFamily="34" charset="-122"/>
                <a:ea typeface="微软雅黑" panose="020B0503020204020204" pitchFamily="34" charset="-122"/>
              </a:rPr>
              <a:t>事件识别预警后，在规定时间内对事件进行大模型智能复核，自动核查事件处置情况，精准评估事件处置效果。</a:t>
            </a:r>
            <a:endParaRPr 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</p:spTree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矩形 1"/>
          <p:cNvSpPr/>
          <p:nvPr/>
        </p:nvSpPr>
        <p:spPr>
          <a:xfrm>
            <a:off x="410704" y="1482413"/>
            <a:ext cx="6098584" cy="4974956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6664271" y="1482413"/>
            <a:ext cx="5052447" cy="2588217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6664325" y="4397375"/>
            <a:ext cx="5052695" cy="2059940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5" name="标题 1"/>
          <p:cNvSpPr txBox="1"/>
          <p:nvPr>
            <p:custDataLst>
              <p:tags r:id="rId1"/>
            </p:custDataLst>
          </p:nvPr>
        </p:nvSpPr>
        <p:spPr>
          <a:xfrm>
            <a:off x="533436" y="390115"/>
            <a:ext cx="10969716" cy="462021"/>
          </a:xfrm>
          <a:prstGeom prst="rect">
            <a:avLst/>
          </a:prstGeom>
        </p:spPr>
        <p:txBody>
          <a:bodyPr anchor="t" anchorCtr="0"/>
          <a:lstStyle>
            <a:lvl1pPr algn="l" defTabSz="11861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5" b="1" kern="1200">
                <a:solidFill>
                  <a:srgbClr val="99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marL="0" marR="0" lvl="0" indent="0" algn="l" defTabSz="118618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lang="zh-CN" sz="2400" i="1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微软雅黑" panose="020B0503020204020204" pitchFamily="34" charset="-122"/>
              </a:rPr>
              <a:t>门前四包</a:t>
            </a:r>
            <a:r>
              <a:rPr lang="zh-CN" altLang="en-US" sz="2400" i="1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微软雅黑" panose="020B0503020204020204" pitchFamily="34" charset="-122"/>
              </a:rPr>
              <a:t>监管助手</a:t>
            </a:r>
            <a:r>
              <a:rPr lang="en-US" altLang="zh-CN" sz="2400" i="1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微软雅黑" panose="020B0503020204020204" pitchFamily="34" charset="-122"/>
              </a:rPr>
              <a:t>-</a:t>
            </a:r>
            <a:r>
              <a:rPr lang="zh-CN" altLang="en-US" sz="2400" i="1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微软雅黑" panose="020B0503020204020204" pitchFamily="34" charset="-122"/>
              </a:rPr>
              <a:t>大模型动态大屏</a:t>
            </a:r>
            <a:endParaRPr kumimoji="0" lang="zh-CN" altLang="en-US" sz="2400" b="1" i="1" u="none" strike="noStrike" kern="1200" cap="none" spc="0" normalizeH="0" baseline="0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latin typeface="微软雅黑" panose="020B0503020204020204" pitchFamily="34" charset="-122"/>
              <a:ea typeface="微软雅黑" panose="020B0503020204020204" pitchFamily="34" charset="-122"/>
              <a:cs typeface="+mj-cs"/>
              <a:sym typeface="微软雅黑" panose="020B0503020204020204" pitchFamily="34" charset="-122"/>
            </a:endParaRPr>
          </a:p>
        </p:txBody>
      </p:sp>
      <p:sp>
        <p:nvSpPr>
          <p:cNvPr id="93" name="矩形 92"/>
          <p:cNvSpPr/>
          <p:nvPr>
            <p:custDataLst>
              <p:tags r:id="rId2"/>
            </p:custDataLst>
          </p:nvPr>
        </p:nvSpPr>
        <p:spPr>
          <a:xfrm>
            <a:off x="506730" y="1541145"/>
            <a:ext cx="1143000" cy="41021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逻辑</a:t>
            </a:r>
            <a:endParaRPr lang="zh-CN" altLang="en-US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>
            <p:custDataLst>
              <p:tags r:id="rId3"/>
            </p:custDataLst>
          </p:nvPr>
        </p:nvSpPr>
        <p:spPr>
          <a:xfrm>
            <a:off x="6746875" y="1591310"/>
            <a:ext cx="1368000" cy="41021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r>
              <a:rPr lang="zh-CN" altLang="en-US" dirty="0">
                <a:solidFill>
                  <a:srgbClr val="000000"/>
                </a:solidFill>
                <a:sym typeface="+mn-ea"/>
              </a:rPr>
              <a:t>解决的问题</a:t>
            </a:r>
            <a:endParaRPr lang="zh-CN" altLang="en-US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>
            <p:custDataLst>
              <p:tags r:id="rId4"/>
            </p:custDataLst>
          </p:nvPr>
        </p:nvSpPr>
        <p:spPr>
          <a:xfrm>
            <a:off x="6766560" y="4529455"/>
            <a:ext cx="1368000" cy="41021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r>
              <a:rPr lang="zh-CN" altLang="en-US" dirty="0">
                <a:solidFill>
                  <a:srgbClr val="000000"/>
                </a:solidFill>
                <a:sym typeface="+mn-ea"/>
              </a:rPr>
              <a:t>价值成效</a:t>
            </a:r>
            <a:endParaRPr lang="zh-CN" altLang="en-US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>
            <p:custDataLst>
              <p:tags r:id="rId5"/>
            </p:custDataLst>
          </p:nvPr>
        </p:nvSpPr>
        <p:spPr>
          <a:xfrm>
            <a:off x="1365885" y="988060"/>
            <a:ext cx="994918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 algn="l">
              <a:buFont typeface="Arial" panose="020B0604020202020204" pitchFamily="34" charset="0"/>
              <a:buNone/>
            </a:pPr>
            <a:r>
              <a:rPr sz="1600" dirty="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依托大模型智能助手，让监测分析研判动态化，让固化的感知大屏变得可灵活洞察、动态生成。</a:t>
            </a:r>
            <a:endParaRPr lang="zh-CN" sz="1600" dirty="0" smtClean="0"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grpSp>
        <p:nvGrpSpPr>
          <p:cNvPr id="11" name="组合 10"/>
          <p:cNvGrpSpPr>
            <a:grpSpLocks noChangeAspect="1"/>
          </p:cNvGrpSpPr>
          <p:nvPr/>
        </p:nvGrpSpPr>
        <p:grpSpPr>
          <a:xfrm>
            <a:off x="681355" y="2013585"/>
            <a:ext cx="3792855" cy="2820035"/>
            <a:chOff x="1057" y="1425"/>
            <a:chExt cx="12744" cy="7175"/>
          </a:xfrm>
        </p:grpSpPr>
        <p:sp>
          <p:nvSpPr>
            <p:cNvPr id="39" name="文本框 38"/>
            <p:cNvSpPr txBox="1"/>
            <p:nvPr>
              <p:custDataLst>
                <p:tags r:id="rId6"/>
              </p:custDataLst>
            </p:nvPr>
          </p:nvSpPr>
          <p:spPr>
            <a:xfrm>
              <a:off x="5445" y="1431"/>
              <a:ext cx="3968" cy="132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1400" b="1">
                  <a:solidFill>
                    <a:schemeClr val="bg1"/>
                  </a:solidFill>
                  <a:cs typeface="微软雅黑" panose="020B0503020204020204" pitchFamily="34" charset="-122"/>
                </a:rPr>
                <a:t>智慧治理视频智能分析系统</a:t>
              </a:r>
              <a:endParaRPr lang="zh-CN" altLang="en-US" sz="1400" b="1">
                <a:solidFill>
                  <a:schemeClr val="bg1"/>
                </a:solidFill>
                <a:cs typeface="微软雅黑" panose="020B0503020204020204" pitchFamily="34" charset="-122"/>
              </a:endParaRPr>
            </a:p>
          </p:txBody>
        </p:sp>
        <p:pic>
          <p:nvPicPr>
            <p:cNvPr id="22" name="图片 21" descr="C:/Users/小姜姜/AppData/Local/Temp/picturecompress_20210914182909/output_1.pngoutput_1"/>
            <p:cNvPicPr>
              <a:picLocks noChangeAspect="1"/>
            </p:cNvPicPr>
            <p:nvPr>
              <p:custDataLst>
                <p:tags r:id="rId7"/>
              </p:custDataLst>
            </p:nvPr>
          </p:nvPicPr>
          <p:blipFill>
            <a:blip r:embed="rId8"/>
            <a:stretch>
              <a:fillRect/>
            </a:stretch>
          </p:blipFill>
          <p:spPr>
            <a:xfrm>
              <a:off x="1057" y="1431"/>
              <a:ext cx="12744" cy="7169"/>
            </a:xfrm>
            <a:prstGeom prst="rect">
              <a:avLst/>
            </a:prstGeom>
          </p:spPr>
        </p:pic>
        <p:pic>
          <p:nvPicPr>
            <p:cNvPr id="12" name="图片 11"/>
            <p:cNvPicPr>
              <a:picLocks noChangeAspect="1"/>
            </p:cNvPicPr>
            <p:nvPr>
              <p:custDataLst>
                <p:tags r:id="rId9"/>
              </p:custDataLst>
            </p:nvPr>
          </p:nvPicPr>
          <p:blipFill>
            <a:blip r:embed="rId10"/>
            <a:stretch>
              <a:fillRect/>
            </a:stretch>
          </p:blipFill>
          <p:spPr>
            <a:xfrm>
              <a:off x="5623" y="1444"/>
              <a:ext cx="3647" cy="464"/>
            </a:xfrm>
            <a:prstGeom prst="rect">
              <a:avLst/>
            </a:prstGeom>
          </p:spPr>
        </p:pic>
        <p:sp>
          <p:nvSpPr>
            <p:cNvPr id="24" name="文本框 23"/>
            <p:cNvSpPr txBox="1">
              <a:spLocks noChangeAspect="1"/>
            </p:cNvSpPr>
            <p:nvPr>
              <p:custDataLst>
                <p:tags r:id="rId11"/>
              </p:custDataLst>
            </p:nvPr>
          </p:nvSpPr>
          <p:spPr>
            <a:xfrm>
              <a:off x="5598" y="1425"/>
              <a:ext cx="3661" cy="937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p>
              <a:pPr algn="ctr"/>
              <a:r>
                <a:rPr lang="zh-CN" altLang="en-US" sz="900" b="1" dirty="0">
                  <a:solidFill>
                    <a:schemeClr val="bg1"/>
                  </a:solidFill>
                  <a:cs typeface="微软雅黑" panose="020B0503020204020204" pitchFamily="34" charset="-122"/>
                </a:rPr>
                <a:t>城市管理视频智能分析系统</a:t>
              </a:r>
              <a:endParaRPr lang="zh-CN" altLang="en-US" sz="900" b="1" dirty="0">
                <a:solidFill>
                  <a:schemeClr val="bg1"/>
                </a:solidFill>
                <a:cs typeface="微软雅黑" panose="020B0503020204020204" pitchFamily="34" charset="-122"/>
              </a:endParaRPr>
            </a:p>
          </p:txBody>
        </p:sp>
      </p:grpSp>
      <p:sp>
        <p:nvSpPr>
          <p:cNvPr id="40" name="矩形 39"/>
          <p:cNvSpPr/>
          <p:nvPr>
            <p:custDataLst>
              <p:tags r:id="rId12"/>
            </p:custDataLst>
          </p:nvPr>
        </p:nvSpPr>
        <p:spPr>
          <a:xfrm>
            <a:off x="760730" y="5201920"/>
            <a:ext cx="5593715" cy="1264920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t" anchorCtr="0" forceAA="0" compatLnSpc="1">
            <a:noAutofit/>
          </a:bodyPr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利用大模型自然语言理解能力，通过构建</a:t>
            </a:r>
            <a:r>
              <a:rPr lang="en-US" altLang="zh-CN" sz="1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Agent</a:t>
            </a:r>
            <a:r>
              <a:rPr lang="zh-CN" altLang="en-US" sz="1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</a:t>
            </a:r>
            <a:r>
              <a:rPr lang="zh-CN" altLang="en-US" sz="1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将</a:t>
            </a:r>
            <a:r>
              <a:rPr lang="en-US" altLang="zh-CN" sz="1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NL2SQL</a:t>
            </a:r>
            <a:r>
              <a:rPr lang="zh-CN" altLang="en-US" sz="1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与大屏交互指令相结合，将自然语言查询转换为可执行的SQL语句和</a:t>
            </a:r>
            <a:r>
              <a:rPr lang="zh-CN" altLang="en-US" sz="1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大屏操作指令</a:t>
            </a:r>
            <a:r>
              <a:rPr lang="zh-CN" altLang="en-US" sz="1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，实现数据库灵活按需查询和大屏数据动态更新、交互</a:t>
            </a:r>
            <a:r>
              <a:rPr lang="zh-CN" altLang="en-US" sz="14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操作。</a:t>
            </a:r>
            <a:endParaRPr lang="zh-CN" altLang="en-US" sz="140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3" name="文本框 12"/>
          <p:cNvSpPr txBox="1"/>
          <p:nvPr>
            <p:custDataLst>
              <p:tags r:id="rId13"/>
            </p:custDataLst>
          </p:nvPr>
        </p:nvSpPr>
        <p:spPr>
          <a:xfrm>
            <a:off x="6779260" y="2072005"/>
            <a:ext cx="4652010" cy="1670050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lvl="0" algn="just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①：预制大屏分析指标分析时段、维度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固化；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lvl="0" algn="just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②：数据下钻、事件定位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人工操作步骤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繁琐，难以快速获取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结果；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lvl="0" algn="just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③：系统操作繁琐，业务人员使用培训周期长，不易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上手。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4" name="文本框 13"/>
          <p:cNvSpPr txBox="1"/>
          <p:nvPr>
            <p:custDataLst>
              <p:tags r:id="rId14"/>
            </p:custDataLst>
          </p:nvPr>
        </p:nvSpPr>
        <p:spPr>
          <a:xfrm>
            <a:off x="6750685" y="4963160"/>
            <a:ext cx="4683125" cy="120967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lvl="0" algn="just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①</a:t>
            </a:r>
            <a:r>
              <a:rPr lang="zh-CN" sz="1400" dirty="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：数据分析</a:t>
            </a:r>
            <a:r>
              <a:rPr lang="zh-CN" sz="1400" dirty="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展示灵活，</a:t>
            </a:r>
            <a:r>
              <a:rPr lang="zh-CN" sz="1400" dirty="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“随时问、随时答”，</a:t>
            </a:r>
            <a:r>
              <a:rPr lang="zh-CN" sz="1400" dirty="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快速响应多样化分析展示需要；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lvl="0" algn="just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②：自然语言交互操作，便捷易用，快速获取操作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结果。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grpSp>
        <p:nvGrpSpPr>
          <p:cNvPr id="15" name="组合 14"/>
          <p:cNvGrpSpPr/>
          <p:nvPr>
            <p:custDataLst>
              <p:tags r:id="rId15"/>
            </p:custDataLst>
          </p:nvPr>
        </p:nvGrpSpPr>
        <p:grpSpPr>
          <a:xfrm>
            <a:off x="4574540" y="2032635"/>
            <a:ext cx="1766570" cy="2787015"/>
            <a:chOff x="13639" y="2330"/>
            <a:chExt cx="5092" cy="6006"/>
          </a:xfrm>
        </p:grpSpPr>
        <p:sp>
          <p:nvSpPr>
            <p:cNvPr id="16" name="圆角矩形 15"/>
            <p:cNvSpPr/>
            <p:nvPr>
              <p:custDataLst>
                <p:tags r:id="rId16"/>
              </p:custDataLst>
            </p:nvPr>
          </p:nvSpPr>
          <p:spPr>
            <a:xfrm>
              <a:off x="13640" y="3000"/>
              <a:ext cx="5091" cy="2251"/>
            </a:xfrm>
            <a:prstGeom prst="roundRect">
              <a:avLst>
                <a:gd name="adj" fmla="val 5945"/>
              </a:avLst>
            </a:prstGeom>
            <a:noFill/>
            <a:ln w="19050">
              <a:solidFill>
                <a:schemeClr val="tx2">
                  <a:lumMod val="60000"/>
                  <a:lumOff val="4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95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1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26" name="任意多边形 25"/>
            <p:cNvSpPr/>
            <p:nvPr>
              <p:custDataLst>
                <p:tags r:id="rId17"/>
              </p:custDataLst>
            </p:nvPr>
          </p:nvSpPr>
          <p:spPr>
            <a:xfrm>
              <a:off x="13904" y="4221"/>
              <a:ext cx="4544" cy="828"/>
            </a:xfrm>
            <a:custGeom>
              <a:avLst/>
              <a:gdLst>
                <a:gd name="connsiteX0" fmla="*/ 0 w 4325"/>
                <a:gd name="connsiteY0" fmla="*/ 100 h 767"/>
                <a:gd name="connsiteX1" fmla="*/ 91 w 4325"/>
                <a:gd name="connsiteY1" fmla="*/ 0 h 767"/>
                <a:gd name="connsiteX2" fmla="*/ 721 w 4325"/>
                <a:gd name="connsiteY2" fmla="*/ 0 h 767"/>
                <a:gd name="connsiteX3" fmla="*/ 721 w 4325"/>
                <a:gd name="connsiteY3" fmla="*/ 0 h 767"/>
                <a:gd name="connsiteX4" fmla="*/ 1802 w 4325"/>
                <a:gd name="connsiteY4" fmla="*/ 0 h 767"/>
                <a:gd name="connsiteX5" fmla="*/ 4234 w 4325"/>
                <a:gd name="connsiteY5" fmla="*/ 0 h 767"/>
                <a:gd name="connsiteX6" fmla="*/ 4325 w 4325"/>
                <a:gd name="connsiteY6" fmla="*/ 100 h 767"/>
                <a:gd name="connsiteX7" fmla="*/ 4325 w 4325"/>
                <a:gd name="connsiteY7" fmla="*/ 351 h 767"/>
                <a:gd name="connsiteX8" fmla="*/ 4325 w 4325"/>
                <a:gd name="connsiteY8" fmla="*/ 350 h 767"/>
                <a:gd name="connsiteX9" fmla="*/ 4325 w 4325"/>
                <a:gd name="connsiteY9" fmla="*/ 500 h 767"/>
                <a:gd name="connsiteX10" fmla="*/ 4325 w 4325"/>
                <a:gd name="connsiteY10" fmla="*/ 500 h 767"/>
                <a:gd name="connsiteX11" fmla="*/ 4234 w 4325"/>
                <a:gd name="connsiteY11" fmla="*/ 600 h 767"/>
                <a:gd name="connsiteX12" fmla="*/ 528 w 4325"/>
                <a:gd name="connsiteY12" fmla="*/ 608 h 767"/>
                <a:gd name="connsiteX13" fmla="*/ 244 w 4325"/>
                <a:gd name="connsiteY13" fmla="*/ 767 h 767"/>
                <a:gd name="connsiteX14" fmla="*/ 295 w 4325"/>
                <a:gd name="connsiteY14" fmla="*/ 608 h 767"/>
                <a:gd name="connsiteX15" fmla="*/ 91 w 4325"/>
                <a:gd name="connsiteY15" fmla="*/ 600 h 767"/>
                <a:gd name="connsiteX16" fmla="*/ 0 w 4325"/>
                <a:gd name="connsiteY16" fmla="*/ 500 h 767"/>
                <a:gd name="connsiteX17" fmla="*/ 0 w 4325"/>
                <a:gd name="connsiteY17" fmla="*/ 500 h 767"/>
                <a:gd name="connsiteX18" fmla="*/ 0 w 4325"/>
                <a:gd name="connsiteY18" fmla="*/ 351 h 767"/>
                <a:gd name="connsiteX19" fmla="*/ 0 w 4325"/>
                <a:gd name="connsiteY19" fmla="*/ 350 h 767"/>
                <a:gd name="connsiteX20" fmla="*/ 0 w 4325"/>
                <a:gd name="connsiteY20" fmla="*/ 100 h 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5" h="767">
                  <a:moveTo>
                    <a:pt x="0" y="100"/>
                  </a:moveTo>
                  <a:cubicBezTo>
                    <a:pt x="0" y="45"/>
                    <a:pt x="41" y="0"/>
                    <a:pt x="91" y="0"/>
                  </a:cubicBezTo>
                  <a:lnTo>
                    <a:pt x="721" y="0"/>
                  </a:lnTo>
                  <a:lnTo>
                    <a:pt x="721" y="0"/>
                  </a:lnTo>
                  <a:lnTo>
                    <a:pt x="1802" y="0"/>
                  </a:lnTo>
                  <a:lnTo>
                    <a:pt x="4234" y="0"/>
                  </a:lnTo>
                  <a:cubicBezTo>
                    <a:pt x="4284" y="0"/>
                    <a:pt x="4325" y="45"/>
                    <a:pt x="4325" y="100"/>
                  </a:cubicBezTo>
                  <a:lnTo>
                    <a:pt x="4325" y="351"/>
                  </a:lnTo>
                  <a:lnTo>
                    <a:pt x="4325" y="350"/>
                  </a:lnTo>
                  <a:lnTo>
                    <a:pt x="4325" y="500"/>
                  </a:lnTo>
                  <a:lnTo>
                    <a:pt x="4325" y="500"/>
                  </a:lnTo>
                  <a:cubicBezTo>
                    <a:pt x="4325" y="555"/>
                    <a:pt x="4284" y="600"/>
                    <a:pt x="4234" y="600"/>
                  </a:cubicBezTo>
                  <a:lnTo>
                    <a:pt x="528" y="608"/>
                  </a:lnTo>
                  <a:lnTo>
                    <a:pt x="244" y="767"/>
                  </a:lnTo>
                  <a:lnTo>
                    <a:pt x="295" y="608"/>
                  </a:lnTo>
                  <a:lnTo>
                    <a:pt x="91" y="600"/>
                  </a:lnTo>
                  <a:cubicBezTo>
                    <a:pt x="41" y="600"/>
                    <a:pt x="0" y="555"/>
                    <a:pt x="0" y="500"/>
                  </a:cubicBezTo>
                  <a:lnTo>
                    <a:pt x="0" y="500"/>
                  </a:lnTo>
                  <a:lnTo>
                    <a:pt x="0" y="351"/>
                  </a:lnTo>
                  <a:lnTo>
                    <a:pt x="0" y="35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t" anchorCtr="0"/>
            <a:p>
              <a:pPr algn="l"/>
              <a:r>
                <a:rPr sz="6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大屏首页</a:t>
              </a:r>
              <a:r>
                <a:rPr lang="zh-CN" sz="6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已为您</a:t>
              </a:r>
              <a:r>
                <a:rPr sz="6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展示统计2024年</a:t>
              </a:r>
              <a:r>
                <a:rPr lang="en-US" sz="6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3</a:t>
              </a:r>
              <a:r>
                <a:rPr sz="6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月1日至15日期间的秸秆焚烧告警及总体态势分析</a:t>
              </a:r>
              <a:r>
                <a:rPr lang="zh-CN" sz="6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。</a:t>
              </a:r>
              <a:endParaRPr lang="zh-CN" sz="6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29" name="任意多边形 28"/>
            <p:cNvSpPr/>
            <p:nvPr>
              <p:custDataLst>
                <p:tags r:id="rId18"/>
              </p:custDataLst>
            </p:nvPr>
          </p:nvSpPr>
          <p:spPr>
            <a:xfrm flipH="1">
              <a:off x="13774" y="3324"/>
              <a:ext cx="4675" cy="525"/>
            </a:xfrm>
            <a:custGeom>
              <a:avLst/>
              <a:gdLst>
                <a:gd name="connsiteX0" fmla="*/ 0 w 2915"/>
                <a:gd name="connsiteY0" fmla="*/ 94 h 738"/>
                <a:gd name="connsiteX1" fmla="*/ 61 w 2915"/>
                <a:gd name="connsiteY1" fmla="*/ 0 h 738"/>
                <a:gd name="connsiteX2" fmla="*/ 486 w 2915"/>
                <a:gd name="connsiteY2" fmla="*/ 0 h 738"/>
                <a:gd name="connsiteX3" fmla="*/ 486 w 2915"/>
                <a:gd name="connsiteY3" fmla="*/ 0 h 738"/>
                <a:gd name="connsiteX4" fmla="*/ 1215 w 2915"/>
                <a:gd name="connsiteY4" fmla="*/ 0 h 738"/>
                <a:gd name="connsiteX5" fmla="*/ 2854 w 2915"/>
                <a:gd name="connsiteY5" fmla="*/ 0 h 738"/>
                <a:gd name="connsiteX6" fmla="*/ 2915 w 2915"/>
                <a:gd name="connsiteY6" fmla="*/ 94 h 738"/>
                <a:gd name="connsiteX7" fmla="*/ 2915 w 2915"/>
                <a:gd name="connsiteY7" fmla="*/ 328 h 738"/>
                <a:gd name="connsiteX8" fmla="*/ 2915 w 2915"/>
                <a:gd name="connsiteY8" fmla="*/ 327 h 738"/>
                <a:gd name="connsiteX9" fmla="*/ 2915 w 2915"/>
                <a:gd name="connsiteY9" fmla="*/ 468 h 738"/>
                <a:gd name="connsiteX10" fmla="*/ 2915 w 2915"/>
                <a:gd name="connsiteY10" fmla="*/ 468 h 738"/>
                <a:gd name="connsiteX11" fmla="*/ 2854 w 2915"/>
                <a:gd name="connsiteY11" fmla="*/ 561 h 738"/>
                <a:gd name="connsiteX12" fmla="*/ 356 w 2915"/>
                <a:gd name="connsiteY12" fmla="*/ 568 h 738"/>
                <a:gd name="connsiteX13" fmla="*/ 188 w 2915"/>
                <a:gd name="connsiteY13" fmla="*/ 738 h 738"/>
                <a:gd name="connsiteX14" fmla="*/ 199 w 2915"/>
                <a:gd name="connsiteY14" fmla="*/ 568 h 738"/>
                <a:gd name="connsiteX15" fmla="*/ 61 w 2915"/>
                <a:gd name="connsiteY15" fmla="*/ 561 h 738"/>
                <a:gd name="connsiteX16" fmla="*/ 0 w 2915"/>
                <a:gd name="connsiteY16" fmla="*/ 468 h 738"/>
                <a:gd name="connsiteX17" fmla="*/ 0 w 2915"/>
                <a:gd name="connsiteY17" fmla="*/ 468 h 738"/>
                <a:gd name="connsiteX18" fmla="*/ 0 w 2915"/>
                <a:gd name="connsiteY18" fmla="*/ 328 h 738"/>
                <a:gd name="connsiteX19" fmla="*/ 0 w 2915"/>
                <a:gd name="connsiteY19" fmla="*/ 327 h 738"/>
                <a:gd name="connsiteX20" fmla="*/ 0 w 2915"/>
                <a:gd name="connsiteY20" fmla="*/ 94 h 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15" h="738">
                  <a:moveTo>
                    <a:pt x="0" y="94"/>
                  </a:moveTo>
                  <a:cubicBezTo>
                    <a:pt x="0" y="42"/>
                    <a:pt x="28" y="0"/>
                    <a:pt x="61" y="0"/>
                  </a:cubicBezTo>
                  <a:lnTo>
                    <a:pt x="486" y="0"/>
                  </a:lnTo>
                  <a:lnTo>
                    <a:pt x="486" y="0"/>
                  </a:lnTo>
                  <a:lnTo>
                    <a:pt x="1215" y="0"/>
                  </a:lnTo>
                  <a:lnTo>
                    <a:pt x="2854" y="0"/>
                  </a:lnTo>
                  <a:cubicBezTo>
                    <a:pt x="2887" y="0"/>
                    <a:pt x="2915" y="42"/>
                    <a:pt x="2915" y="94"/>
                  </a:cubicBezTo>
                  <a:lnTo>
                    <a:pt x="2915" y="328"/>
                  </a:lnTo>
                  <a:lnTo>
                    <a:pt x="2915" y="327"/>
                  </a:lnTo>
                  <a:lnTo>
                    <a:pt x="2915" y="468"/>
                  </a:lnTo>
                  <a:lnTo>
                    <a:pt x="2915" y="468"/>
                  </a:lnTo>
                  <a:cubicBezTo>
                    <a:pt x="2915" y="519"/>
                    <a:pt x="2887" y="561"/>
                    <a:pt x="2854" y="561"/>
                  </a:cubicBezTo>
                  <a:lnTo>
                    <a:pt x="356" y="568"/>
                  </a:lnTo>
                  <a:lnTo>
                    <a:pt x="188" y="738"/>
                  </a:lnTo>
                  <a:lnTo>
                    <a:pt x="199" y="568"/>
                  </a:lnTo>
                  <a:lnTo>
                    <a:pt x="61" y="561"/>
                  </a:lnTo>
                  <a:cubicBezTo>
                    <a:pt x="28" y="561"/>
                    <a:pt x="0" y="519"/>
                    <a:pt x="0" y="468"/>
                  </a:cubicBezTo>
                  <a:lnTo>
                    <a:pt x="0" y="468"/>
                  </a:lnTo>
                  <a:lnTo>
                    <a:pt x="0" y="328"/>
                  </a:lnTo>
                  <a:lnTo>
                    <a:pt x="0" y="327"/>
                  </a:lnTo>
                  <a:lnTo>
                    <a:pt x="0" y="94"/>
                  </a:lnTo>
                  <a:close/>
                </a:path>
              </a:pathLst>
            </a:custGeom>
            <a:noFill/>
            <a:ln w="12700">
              <a:solidFill>
                <a:schemeClr val="tx2">
                  <a:lumMod val="60000"/>
                  <a:lumOff val="4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t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zh-CN" altLang="en-US" sz="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帮我查询2024-0</a:t>
              </a:r>
              <a:r>
                <a:rPr lang="en-US" altLang="zh-CN" sz="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3</a:t>
              </a:r>
              <a:r>
                <a:rPr lang="zh-CN" altLang="en-US" sz="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-01到2024-03-15的数据</a:t>
              </a:r>
              <a:r>
                <a:rPr lang="en-US" altLang="zh-CN" sz="600" dirty="0">
                  <a:solidFill>
                    <a:schemeClr val="tx1">
                      <a:lumMod val="75000"/>
                      <a:lumOff val="25000"/>
                    </a:schemeClr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 </a:t>
              </a:r>
              <a:endParaRPr lang="en-US" altLang="zh-CN" sz="600" dirty="0">
                <a:solidFill>
                  <a:schemeClr val="tx1">
                    <a:lumMod val="75000"/>
                    <a:lumOff val="25000"/>
                  </a:schemeClr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30" name="圆角矩形 29"/>
            <p:cNvSpPr/>
            <p:nvPr>
              <p:custDataLst>
                <p:tags r:id="rId19"/>
              </p:custDataLst>
            </p:nvPr>
          </p:nvSpPr>
          <p:spPr>
            <a:xfrm>
              <a:off x="13640" y="6194"/>
              <a:ext cx="5091" cy="2142"/>
            </a:xfrm>
            <a:prstGeom prst="roundRect">
              <a:avLst>
                <a:gd name="adj" fmla="val 5945"/>
              </a:avLst>
            </a:prstGeom>
            <a:noFill/>
            <a:ln w="19050">
              <a:solidFill>
                <a:schemeClr val="tx2">
                  <a:lumMod val="60000"/>
                  <a:lumOff val="4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bg1">
                      <a:lumMod val="95000"/>
                    </a:schemeClr>
                  </a:solidFill>
                </a14:hiddenFill>
              </a:ext>
            </a:extLst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ctr"/>
            <a:p>
              <a:pPr algn="ctr"/>
              <a:endParaRPr lang="zh-CN" altLang="en-US" sz="1000">
                <a:latin typeface="微软雅黑" panose="020B0503020204020204" pitchFamily="34" charset="-122"/>
                <a:ea typeface="微软雅黑" panose="020B0503020204020204" pitchFamily="34" charset="-122"/>
              </a:endParaRPr>
            </a:p>
          </p:txBody>
        </p:sp>
        <p:sp>
          <p:nvSpPr>
            <p:cNvPr id="32" name="任意多边形 31"/>
            <p:cNvSpPr/>
            <p:nvPr>
              <p:custDataLst>
                <p:tags r:id="rId20"/>
              </p:custDataLst>
            </p:nvPr>
          </p:nvSpPr>
          <p:spPr>
            <a:xfrm>
              <a:off x="14040" y="7299"/>
              <a:ext cx="4211" cy="767"/>
            </a:xfrm>
            <a:custGeom>
              <a:avLst/>
              <a:gdLst>
                <a:gd name="connsiteX0" fmla="*/ 0 w 4325"/>
                <a:gd name="connsiteY0" fmla="*/ 100 h 767"/>
                <a:gd name="connsiteX1" fmla="*/ 91 w 4325"/>
                <a:gd name="connsiteY1" fmla="*/ 0 h 767"/>
                <a:gd name="connsiteX2" fmla="*/ 721 w 4325"/>
                <a:gd name="connsiteY2" fmla="*/ 0 h 767"/>
                <a:gd name="connsiteX3" fmla="*/ 721 w 4325"/>
                <a:gd name="connsiteY3" fmla="*/ 0 h 767"/>
                <a:gd name="connsiteX4" fmla="*/ 1802 w 4325"/>
                <a:gd name="connsiteY4" fmla="*/ 0 h 767"/>
                <a:gd name="connsiteX5" fmla="*/ 4234 w 4325"/>
                <a:gd name="connsiteY5" fmla="*/ 0 h 767"/>
                <a:gd name="connsiteX6" fmla="*/ 4325 w 4325"/>
                <a:gd name="connsiteY6" fmla="*/ 100 h 767"/>
                <a:gd name="connsiteX7" fmla="*/ 4325 w 4325"/>
                <a:gd name="connsiteY7" fmla="*/ 351 h 767"/>
                <a:gd name="connsiteX8" fmla="*/ 4325 w 4325"/>
                <a:gd name="connsiteY8" fmla="*/ 350 h 767"/>
                <a:gd name="connsiteX9" fmla="*/ 4325 w 4325"/>
                <a:gd name="connsiteY9" fmla="*/ 500 h 767"/>
                <a:gd name="connsiteX10" fmla="*/ 4325 w 4325"/>
                <a:gd name="connsiteY10" fmla="*/ 500 h 767"/>
                <a:gd name="connsiteX11" fmla="*/ 4234 w 4325"/>
                <a:gd name="connsiteY11" fmla="*/ 600 h 767"/>
                <a:gd name="connsiteX12" fmla="*/ 528 w 4325"/>
                <a:gd name="connsiteY12" fmla="*/ 608 h 767"/>
                <a:gd name="connsiteX13" fmla="*/ 244 w 4325"/>
                <a:gd name="connsiteY13" fmla="*/ 767 h 767"/>
                <a:gd name="connsiteX14" fmla="*/ 295 w 4325"/>
                <a:gd name="connsiteY14" fmla="*/ 608 h 767"/>
                <a:gd name="connsiteX15" fmla="*/ 91 w 4325"/>
                <a:gd name="connsiteY15" fmla="*/ 600 h 767"/>
                <a:gd name="connsiteX16" fmla="*/ 0 w 4325"/>
                <a:gd name="connsiteY16" fmla="*/ 500 h 767"/>
                <a:gd name="connsiteX17" fmla="*/ 0 w 4325"/>
                <a:gd name="connsiteY17" fmla="*/ 500 h 767"/>
                <a:gd name="connsiteX18" fmla="*/ 0 w 4325"/>
                <a:gd name="connsiteY18" fmla="*/ 351 h 767"/>
                <a:gd name="connsiteX19" fmla="*/ 0 w 4325"/>
                <a:gd name="connsiteY19" fmla="*/ 350 h 767"/>
                <a:gd name="connsiteX20" fmla="*/ 0 w 4325"/>
                <a:gd name="connsiteY20" fmla="*/ 100 h 767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4325" h="767">
                  <a:moveTo>
                    <a:pt x="0" y="100"/>
                  </a:moveTo>
                  <a:cubicBezTo>
                    <a:pt x="0" y="45"/>
                    <a:pt x="41" y="0"/>
                    <a:pt x="91" y="0"/>
                  </a:cubicBezTo>
                  <a:lnTo>
                    <a:pt x="721" y="0"/>
                  </a:lnTo>
                  <a:lnTo>
                    <a:pt x="721" y="0"/>
                  </a:lnTo>
                  <a:lnTo>
                    <a:pt x="1802" y="0"/>
                  </a:lnTo>
                  <a:lnTo>
                    <a:pt x="4234" y="0"/>
                  </a:lnTo>
                  <a:cubicBezTo>
                    <a:pt x="4284" y="0"/>
                    <a:pt x="4325" y="45"/>
                    <a:pt x="4325" y="100"/>
                  </a:cubicBezTo>
                  <a:lnTo>
                    <a:pt x="4325" y="351"/>
                  </a:lnTo>
                  <a:lnTo>
                    <a:pt x="4325" y="350"/>
                  </a:lnTo>
                  <a:lnTo>
                    <a:pt x="4325" y="500"/>
                  </a:lnTo>
                  <a:lnTo>
                    <a:pt x="4325" y="500"/>
                  </a:lnTo>
                  <a:cubicBezTo>
                    <a:pt x="4325" y="555"/>
                    <a:pt x="4284" y="600"/>
                    <a:pt x="4234" y="600"/>
                  </a:cubicBezTo>
                  <a:lnTo>
                    <a:pt x="528" y="608"/>
                  </a:lnTo>
                  <a:lnTo>
                    <a:pt x="244" y="767"/>
                  </a:lnTo>
                  <a:lnTo>
                    <a:pt x="295" y="608"/>
                  </a:lnTo>
                  <a:lnTo>
                    <a:pt x="91" y="600"/>
                  </a:lnTo>
                  <a:cubicBezTo>
                    <a:pt x="41" y="600"/>
                    <a:pt x="0" y="555"/>
                    <a:pt x="0" y="500"/>
                  </a:cubicBezTo>
                  <a:lnTo>
                    <a:pt x="0" y="500"/>
                  </a:lnTo>
                  <a:lnTo>
                    <a:pt x="0" y="351"/>
                  </a:lnTo>
                  <a:lnTo>
                    <a:pt x="0" y="350"/>
                  </a:lnTo>
                  <a:lnTo>
                    <a:pt x="0" y="100"/>
                  </a:lnTo>
                  <a:close/>
                </a:path>
              </a:pathLst>
            </a:custGeom>
            <a:solidFill>
              <a:schemeClr val="bg1">
                <a:lumMod val="85000"/>
              </a:schemeClr>
            </a:solidFill>
            <a:ln>
              <a:noFill/>
            </a:ln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rtlCol="0" anchor="t" anchorCtr="0"/>
            <a:p>
              <a:pPr algn="l"/>
              <a:r>
                <a:rPr lang="zh-CN" sz="6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cs typeface="微软雅黑" panose="020B0503020204020204" pitchFamily="34" charset="-122"/>
                </a:rPr>
                <a:t>以为你生成最近两月的是门前事件对比分析图表。</a:t>
              </a:r>
              <a:endParaRPr lang="zh-CN" sz="6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</a:endParaRPr>
            </a:p>
          </p:txBody>
        </p:sp>
        <p:sp>
          <p:nvSpPr>
            <p:cNvPr id="33" name="任意多边形 32"/>
            <p:cNvSpPr/>
            <p:nvPr>
              <p:custDataLst>
                <p:tags r:id="rId21"/>
              </p:custDataLst>
            </p:nvPr>
          </p:nvSpPr>
          <p:spPr>
            <a:xfrm flipH="1">
              <a:off x="14440" y="6461"/>
              <a:ext cx="3811" cy="525"/>
            </a:xfrm>
            <a:custGeom>
              <a:avLst/>
              <a:gdLst>
                <a:gd name="connsiteX0" fmla="*/ 0 w 2915"/>
                <a:gd name="connsiteY0" fmla="*/ 94 h 738"/>
                <a:gd name="connsiteX1" fmla="*/ 61 w 2915"/>
                <a:gd name="connsiteY1" fmla="*/ 0 h 738"/>
                <a:gd name="connsiteX2" fmla="*/ 486 w 2915"/>
                <a:gd name="connsiteY2" fmla="*/ 0 h 738"/>
                <a:gd name="connsiteX3" fmla="*/ 486 w 2915"/>
                <a:gd name="connsiteY3" fmla="*/ 0 h 738"/>
                <a:gd name="connsiteX4" fmla="*/ 1215 w 2915"/>
                <a:gd name="connsiteY4" fmla="*/ 0 h 738"/>
                <a:gd name="connsiteX5" fmla="*/ 2854 w 2915"/>
                <a:gd name="connsiteY5" fmla="*/ 0 h 738"/>
                <a:gd name="connsiteX6" fmla="*/ 2915 w 2915"/>
                <a:gd name="connsiteY6" fmla="*/ 94 h 738"/>
                <a:gd name="connsiteX7" fmla="*/ 2915 w 2915"/>
                <a:gd name="connsiteY7" fmla="*/ 328 h 738"/>
                <a:gd name="connsiteX8" fmla="*/ 2915 w 2915"/>
                <a:gd name="connsiteY8" fmla="*/ 327 h 738"/>
                <a:gd name="connsiteX9" fmla="*/ 2915 w 2915"/>
                <a:gd name="connsiteY9" fmla="*/ 468 h 738"/>
                <a:gd name="connsiteX10" fmla="*/ 2915 w 2915"/>
                <a:gd name="connsiteY10" fmla="*/ 468 h 738"/>
                <a:gd name="connsiteX11" fmla="*/ 2854 w 2915"/>
                <a:gd name="connsiteY11" fmla="*/ 561 h 738"/>
                <a:gd name="connsiteX12" fmla="*/ 356 w 2915"/>
                <a:gd name="connsiteY12" fmla="*/ 568 h 738"/>
                <a:gd name="connsiteX13" fmla="*/ 188 w 2915"/>
                <a:gd name="connsiteY13" fmla="*/ 738 h 738"/>
                <a:gd name="connsiteX14" fmla="*/ 199 w 2915"/>
                <a:gd name="connsiteY14" fmla="*/ 568 h 738"/>
                <a:gd name="connsiteX15" fmla="*/ 61 w 2915"/>
                <a:gd name="connsiteY15" fmla="*/ 561 h 738"/>
                <a:gd name="connsiteX16" fmla="*/ 0 w 2915"/>
                <a:gd name="connsiteY16" fmla="*/ 468 h 738"/>
                <a:gd name="connsiteX17" fmla="*/ 0 w 2915"/>
                <a:gd name="connsiteY17" fmla="*/ 468 h 738"/>
                <a:gd name="connsiteX18" fmla="*/ 0 w 2915"/>
                <a:gd name="connsiteY18" fmla="*/ 328 h 738"/>
                <a:gd name="connsiteX19" fmla="*/ 0 w 2915"/>
                <a:gd name="connsiteY19" fmla="*/ 327 h 738"/>
                <a:gd name="connsiteX20" fmla="*/ 0 w 2915"/>
                <a:gd name="connsiteY20" fmla="*/ 94 h 73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  <a:cxn ang="0">
                  <a:pos x="connsiteX6" y="connsiteY6"/>
                </a:cxn>
                <a:cxn ang="0">
                  <a:pos x="connsiteX7" y="connsiteY7"/>
                </a:cxn>
                <a:cxn ang="0">
                  <a:pos x="connsiteX8" y="connsiteY8"/>
                </a:cxn>
                <a:cxn ang="0">
                  <a:pos x="connsiteX9" y="connsiteY9"/>
                </a:cxn>
                <a:cxn ang="0">
                  <a:pos x="connsiteX10" y="connsiteY10"/>
                </a:cxn>
                <a:cxn ang="0">
                  <a:pos x="connsiteX11" y="connsiteY11"/>
                </a:cxn>
                <a:cxn ang="0">
                  <a:pos x="connsiteX12" y="connsiteY12"/>
                </a:cxn>
                <a:cxn ang="0">
                  <a:pos x="connsiteX13" y="connsiteY13"/>
                </a:cxn>
                <a:cxn ang="0">
                  <a:pos x="connsiteX14" y="connsiteY14"/>
                </a:cxn>
                <a:cxn ang="0">
                  <a:pos x="connsiteX15" y="connsiteY15"/>
                </a:cxn>
                <a:cxn ang="0">
                  <a:pos x="connsiteX16" y="connsiteY16"/>
                </a:cxn>
                <a:cxn ang="0">
                  <a:pos x="connsiteX17" y="connsiteY17"/>
                </a:cxn>
                <a:cxn ang="0">
                  <a:pos x="connsiteX18" y="connsiteY18"/>
                </a:cxn>
                <a:cxn ang="0">
                  <a:pos x="connsiteX19" y="connsiteY19"/>
                </a:cxn>
                <a:cxn ang="0">
                  <a:pos x="connsiteX20" y="connsiteY20"/>
                </a:cxn>
              </a:cxnLst>
              <a:rect l="l" t="t" r="r" b="b"/>
              <a:pathLst>
                <a:path w="2915" h="738">
                  <a:moveTo>
                    <a:pt x="0" y="94"/>
                  </a:moveTo>
                  <a:cubicBezTo>
                    <a:pt x="0" y="42"/>
                    <a:pt x="28" y="0"/>
                    <a:pt x="61" y="0"/>
                  </a:cubicBezTo>
                  <a:lnTo>
                    <a:pt x="486" y="0"/>
                  </a:lnTo>
                  <a:lnTo>
                    <a:pt x="486" y="0"/>
                  </a:lnTo>
                  <a:lnTo>
                    <a:pt x="1215" y="0"/>
                  </a:lnTo>
                  <a:lnTo>
                    <a:pt x="2854" y="0"/>
                  </a:lnTo>
                  <a:cubicBezTo>
                    <a:pt x="2887" y="0"/>
                    <a:pt x="2915" y="42"/>
                    <a:pt x="2915" y="94"/>
                  </a:cubicBezTo>
                  <a:lnTo>
                    <a:pt x="2915" y="328"/>
                  </a:lnTo>
                  <a:lnTo>
                    <a:pt x="2915" y="327"/>
                  </a:lnTo>
                  <a:lnTo>
                    <a:pt x="2915" y="468"/>
                  </a:lnTo>
                  <a:lnTo>
                    <a:pt x="2915" y="468"/>
                  </a:lnTo>
                  <a:cubicBezTo>
                    <a:pt x="2915" y="519"/>
                    <a:pt x="2887" y="561"/>
                    <a:pt x="2854" y="561"/>
                  </a:cubicBezTo>
                  <a:lnTo>
                    <a:pt x="356" y="568"/>
                  </a:lnTo>
                  <a:lnTo>
                    <a:pt x="188" y="738"/>
                  </a:lnTo>
                  <a:lnTo>
                    <a:pt x="199" y="568"/>
                  </a:lnTo>
                  <a:lnTo>
                    <a:pt x="61" y="561"/>
                  </a:lnTo>
                  <a:cubicBezTo>
                    <a:pt x="28" y="561"/>
                    <a:pt x="0" y="519"/>
                    <a:pt x="0" y="468"/>
                  </a:cubicBezTo>
                  <a:lnTo>
                    <a:pt x="0" y="468"/>
                  </a:lnTo>
                  <a:lnTo>
                    <a:pt x="0" y="328"/>
                  </a:lnTo>
                  <a:lnTo>
                    <a:pt x="0" y="327"/>
                  </a:lnTo>
                  <a:lnTo>
                    <a:pt x="0" y="94"/>
                  </a:lnTo>
                  <a:close/>
                </a:path>
              </a:pathLst>
            </a:custGeom>
            <a:noFill/>
            <a:ln w="12700">
              <a:solidFill>
                <a:schemeClr val="tx2">
                  <a:lumMod val="60000"/>
                  <a:lumOff val="40000"/>
                </a:schemeClr>
              </a:solidFill>
            </a:ln>
            <a:extLst>
              <a:ext uri="{909E8E84-426E-40DD-AFC4-6F175D3DCCD1}">
                <a14:hiddenFill xmlns:a14="http://schemas.microsoft.com/office/drawing/2010/main">
                  <a:solidFill>
                    <a:schemeClr val="accent1"/>
                  </a:solidFill>
                </a14:hiddenFill>
              </a:ext>
            </a:extLst>
          </p:spPr>
          <p:style>
            <a:lnRef idx="2">
              <a:schemeClr val="accent1">
                <a:lumMod val="75000"/>
              </a:schemeClr>
            </a:lnRef>
            <a:fillRef idx="1">
              <a:schemeClr val="accent1"/>
            </a:fillRef>
            <a:effectRef idx="0">
              <a:srgbClr val="FFFFFF"/>
            </a:effectRef>
            <a:fontRef idx="minor">
              <a:schemeClr val="lt1"/>
            </a:fontRef>
          </p:style>
          <p:txBody>
            <a:bodyPr vertOverflow="overflow" horzOverflow="overflow" vert="horz" wrap="square" numCol="1" spcCol="0" rtlCol="0" fromWordArt="0" anchor="t" anchorCtr="0" forceAA="0" compatLnSpc="1">
              <a:noAutofit/>
            </a:bodyPr>
            <a:p>
              <a:pPr lvl="0" algn="ctr">
                <a:buClrTx/>
                <a:buSzTx/>
                <a:buFontTx/>
              </a:pPr>
              <a:r>
                <a:rPr lang="zh-CN" altLang="en-US" sz="600">
                  <a:solidFill>
                    <a:schemeClr val="tx1"/>
                  </a:solidFill>
                  <a:latin typeface="微软雅黑" panose="020B0503020204020204" pitchFamily="34" charset="-122"/>
                  <a:ea typeface="微软雅黑" panose="020B0503020204020204" pitchFamily="34" charset="-122"/>
                  <a:sym typeface="+mn-ea"/>
                </a:rPr>
                <a:t>请对比显示最近两月的事件数据</a:t>
              </a:r>
              <a:endParaRPr lang="zh-CN" altLang="en-US" sz="6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endParaRPr>
            </a:p>
          </p:txBody>
        </p:sp>
        <p:sp>
          <p:nvSpPr>
            <p:cNvPr id="34" name="任意多边形: 形状 8"/>
            <p:cNvSpPr/>
            <p:nvPr>
              <p:custDataLst>
                <p:tags r:id="rId22"/>
              </p:custDataLst>
            </p:nvPr>
          </p:nvSpPr>
          <p:spPr>
            <a:xfrm flipH="1">
              <a:off x="13639" y="2330"/>
              <a:ext cx="5024" cy="630"/>
            </a:xfrm>
            <a:prstGeom prst="roundRect">
              <a:avLst/>
            </a:prstGeom>
            <a:gradFill flip="none" rotWithShape="1">
              <a:gsLst>
                <a:gs pos="52000">
                  <a:srgbClr val="C00000"/>
                </a:gs>
                <a:gs pos="100000">
                  <a:schemeClr val="accent6"/>
                </a:gs>
              </a:gsLst>
              <a:lin ang="27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9pPr>
            </a:lstStyle>
            <a:p>
              <a:pPr lvl="0" algn="ctr" eaLnBrk="1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defRPr/>
              </a:pPr>
              <a:r>
                <a:rPr lang="zh-CN" altLang="en-US" sz="900" b="1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lt"/>
                  <a:sym typeface="思源宋体 CN" panose="02020400000000000000" pitchFamily="18" charset="-122"/>
                </a:rPr>
                <a:t>动态生成相关指标统计</a:t>
              </a:r>
              <a:endParaRPr lang="zh-CN" altLang="en-US" sz="900" b="1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lt"/>
                <a:sym typeface="思源宋体 CN" panose="02020400000000000000" pitchFamily="18" charset="-122"/>
              </a:endParaRPr>
            </a:p>
          </p:txBody>
        </p:sp>
        <p:sp>
          <p:nvSpPr>
            <p:cNvPr id="35" name="任意多边形: 形状 8"/>
            <p:cNvSpPr/>
            <p:nvPr>
              <p:custDataLst>
                <p:tags r:id="rId23"/>
              </p:custDataLst>
            </p:nvPr>
          </p:nvSpPr>
          <p:spPr>
            <a:xfrm flipH="1">
              <a:off x="13639" y="5518"/>
              <a:ext cx="5024" cy="630"/>
            </a:xfrm>
            <a:prstGeom prst="roundRect">
              <a:avLst/>
            </a:prstGeom>
            <a:gradFill flip="none" rotWithShape="1">
              <a:gsLst>
                <a:gs pos="52000">
                  <a:srgbClr val="C00000"/>
                </a:gs>
                <a:gs pos="100000">
                  <a:schemeClr val="accent6"/>
                </a:gs>
              </a:gsLst>
              <a:lin ang="2700000" scaled="0"/>
            </a:gradFill>
            <a:ln w="9525"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  <a:noAutofit/>
            </a:bodyPr>
            <a:lstStyle>
              <a:defPPr>
                <a:defRPr lang="zh-CN">
                  <a:solidFill>
                    <a:schemeClr val="lt1"/>
                  </a:solidFill>
                </a:defRPr>
              </a:defPPr>
              <a:lvl1pPr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1pPr>
              <a:lvl2pPr marL="4572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2pPr>
              <a:lvl3pPr marL="9144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3pPr>
              <a:lvl4pPr marL="13716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4pPr>
              <a:lvl5pPr marL="1828800" algn="l" rtl="0" eaLnBrk="0" fontAlgn="base" hangingPunct="0">
                <a:spcBef>
                  <a:spcPct val="0"/>
                </a:spcBef>
                <a:spcAft>
                  <a:spcPct val="0"/>
                </a:spcAft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5pPr>
              <a:lvl6pPr marL="2286000" algn="l" defTabSz="914400" rtl="0" eaLnBrk="1" latinLnBrk="0" hangingPunct="1"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6pPr>
              <a:lvl7pPr marL="2743200" algn="l" defTabSz="914400" rtl="0" eaLnBrk="1" latinLnBrk="0" hangingPunct="1"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7pPr>
              <a:lvl8pPr marL="3200400" algn="l" defTabSz="914400" rtl="0" eaLnBrk="1" latinLnBrk="0" hangingPunct="1"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8pPr>
              <a:lvl9pPr marL="3657600" algn="l" defTabSz="914400" rtl="0" eaLnBrk="1" latinLnBrk="0" hangingPunct="1">
                <a:defRPr kern="1200">
                  <a:solidFill>
                    <a:schemeClr val="lt1"/>
                  </a:solidFill>
                  <a:latin typeface="Arial" panose="020B0604020202020204" pitchFamily="34" charset="0"/>
                  <a:ea typeface="微软雅黑" panose="020B0503020204020204" pitchFamily="34" charset="-122"/>
                  <a:cs typeface="+mn-cs"/>
                </a:defRPr>
              </a:lvl9pPr>
            </a:lstStyle>
            <a:p>
              <a:pPr lvl="0" algn="ctr" eaLnBrk="1" hangingPunct="1"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defRPr/>
              </a:pPr>
              <a:r>
                <a:rPr lang="zh-CN" altLang="en-US" sz="900" b="1" noProof="0">
                  <a:ln>
                    <a:noFill/>
                  </a:ln>
                  <a:solidFill>
                    <a:schemeClr val="bg1"/>
                  </a:solidFill>
                  <a:effectLst/>
                  <a:uLnTx/>
                  <a:uFillTx/>
                  <a:latin typeface="+mn-lt"/>
                  <a:ea typeface="+mn-lt"/>
                  <a:sym typeface="思源宋体 CN" panose="02020400000000000000" pitchFamily="18" charset="-122"/>
                </a:rPr>
                <a:t>数据指标灵活对比分析</a:t>
              </a:r>
              <a:endParaRPr lang="zh-CN" altLang="en-US" sz="900" b="1" noProof="0">
                <a:ln>
                  <a:noFill/>
                </a:ln>
                <a:solidFill>
                  <a:schemeClr val="bg1"/>
                </a:solidFill>
                <a:effectLst/>
                <a:uLnTx/>
                <a:uFillTx/>
                <a:latin typeface="+mn-lt"/>
                <a:ea typeface="+mn-lt"/>
                <a:sym typeface="思源宋体 CN" panose="02020400000000000000" pitchFamily="18" charset="-122"/>
              </a:endParaRPr>
            </a:p>
          </p:txBody>
        </p:sp>
      </p:grpSp>
    </p:spTree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矩形 12"/>
          <p:cNvSpPr/>
          <p:nvPr>
            <p:custDataLst>
              <p:tags r:id="rId1"/>
            </p:custDataLst>
          </p:nvPr>
        </p:nvSpPr>
        <p:spPr>
          <a:xfrm>
            <a:off x="419100" y="3804920"/>
            <a:ext cx="3215640" cy="264033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1125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8" name="矩形 7"/>
          <p:cNvSpPr/>
          <p:nvPr>
            <p:custDataLst>
              <p:tags r:id="rId2"/>
            </p:custDataLst>
          </p:nvPr>
        </p:nvSpPr>
        <p:spPr>
          <a:xfrm>
            <a:off x="3302635" y="1478915"/>
            <a:ext cx="3215640" cy="2703830"/>
          </a:xfrm>
          <a:prstGeom prst="rect">
            <a:avLst/>
          </a:prstGeom>
          <a:solidFill>
            <a:schemeClr val="accent1">
              <a:lumMod val="60000"/>
              <a:lumOff val="40000"/>
            </a:scheme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ctr">
              <a:buClrTx/>
              <a:buSzTx/>
              <a:buFontTx/>
            </a:pPr>
            <a:endParaRPr lang="zh-CN" altLang="en-US" sz="1125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2" name="矩形 1"/>
          <p:cNvSpPr/>
          <p:nvPr/>
        </p:nvSpPr>
        <p:spPr>
          <a:xfrm>
            <a:off x="410704" y="1482413"/>
            <a:ext cx="6098584" cy="4974956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zh-CN" altLang="en-US"/>
          </a:p>
        </p:txBody>
      </p:sp>
      <p:sp>
        <p:nvSpPr>
          <p:cNvPr id="3" name="矩形 2"/>
          <p:cNvSpPr/>
          <p:nvPr/>
        </p:nvSpPr>
        <p:spPr>
          <a:xfrm>
            <a:off x="6664271" y="1482413"/>
            <a:ext cx="5052447" cy="2588217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4" name="矩形 3"/>
          <p:cNvSpPr/>
          <p:nvPr/>
        </p:nvSpPr>
        <p:spPr>
          <a:xfrm>
            <a:off x="6664325" y="4397375"/>
            <a:ext cx="5052695" cy="2059940"/>
          </a:xfrm>
          <a:prstGeom prst="rect">
            <a:avLst/>
          </a:prstGeom>
          <a:noFill/>
          <a:ln>
            <a:solidFill>
              <a:srgbClr val="C00000"/>
            </a:solidFill>
          </a:ln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</a:ex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lstStyle/>
          <a:p>
            <a:pPr lvl="0" algn="ctr">
              <a:buClrTx/>
              <a:buSzTx/>
              <a:buFontTx/>
            </a:pPr>
            <a:endParaRPr lang="zh-CN" altLang="en-US">
              <a:sym typeface="+mn-ea"/>
            </a:endParaRPr>
          </a:p>
        </p:txBody>
      </p:sp>
      <p:sp>
        <p:nvSpPr>
          <p:cNvPr id="5" name="标题 1"/>
          <p:cNvSpPr txBox="1"/>
          <p:nvPr>
            <p:custDataLst>
              <p:tags r:id="rId3"/>
            </p:custDataLst>
          </p:nvPr>
        </p:nvSpPr>
        <p:spPr>
          <a:xfrm>
            <a:off x="533436" y="390115"/>
            <a:ext cx="10969716" cy="462021"/>
          </a:xfrm>
          <a:prstGeom prst="rect">
            <a:avLst/>
          </a:prstGeom>
        </p:spPr>
        <p:txBody>
          <a:bodyPr anchor="t" anchorCtr="0"/>
          <a:lstStyle>
            <a:lvl1pPr algn="l" defTabSz="118618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395" b="1" kern="1200">
                <a:solidFill>
                  <a:srgbClr val="990000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+mj-cs"/>
              </a:defRPr>
            </a:lvl1pPr>
          </a:lstStyle>
          <a:p>
            <a:pPr marL="0" marR="0" lvl="0" indent="0" algn="l" defTabSz="118618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defRPr/>
            </a:pPr>
            <a:r>
              <a:rPr sz="2400" i="1" noProof="0" dirty="0">
                <a:ln>
                  <a:noFill/>
                </a:ln>
                <a:solidFill>
                  <a:srgbClr val="C00000"/>
                </a:solidFill>
                <a:effectLst/>
                <a:uLnTx/>
                <a:uFillTx/>
                <a:sym typeface="微软雅黑" panose="020B0503020204020204" pitchFamily="34" charset="-122"/>
              </a:rPr>
              <a:t>门前四包监管助手-大模型报告生成&amp;业务问答</a:t>
            </a:r>
            <a:endParaRPr sz="2400" i="1" noProof="0" dirty="0">
              <a:ln>
                <a:noFill/>
              </a:ln>
              <a:solidFill>
                <a:srgbClr val="C00000"/>
              </a:solidFill>
              <a:effectLst/>
              <a:uLnTx/>
              <a:uFillTx/>
              <a:sym typeface="微软雅黑" panose="020B0503020204020204" pitchFamily="34" charset="-122"/>
            </a:endParaRPr>
          </a:p>
        </p:txBody>
      </p:sp>
      <p:sp>
        <p:nvSpPr>
          <p:cNvPr id="93" name="矩形 92"/>
          <p:cNvSpPr/>
          <p:nvPr>
            <p:custDataLst>
              <p:tags r:id="rId4"/>
            </p:custDataLst>
          </p:nvPr>
        </p:nvSpPr>
        <p:spPr>
          <a:xfrm>
            <a:off x="506730" y="1541145"/>
            <a:ext cx="1143000" cy="41021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r>
              <a:rPr lang="zh-CN" altLang="en-US" dirty="0">
                <a:solidFill>
                  <a:srgbClr val="000000"/>
                </a:solidFill>
                <a:latin typeface="微软雅黑" panose="020B0503020204020204" pitchFamily="34" charset="-122"/>
                <a:ea typeface="微软雅黑" panose="020B0503020204020204" pitchFamily="34" charset="-122"/>
              </a:rPr>
              <a:t>实现逻辑</a:t>
            </a:r>
            <a:endParaRPr lang="zh-CN" altLang="en-US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9" name="矩形 8"/>
          <p:cNvSpPr/>
          <p:nvPr>
            <p:custDataLst>
              <p:tags r:id="rId5"/>
            </p:custDataLst>
          </p:nvPr>
        </p:nvSpPr>
        <p:spPr>
          <a:xfrm>
            <a:off x="6746875" y="1591310"/>
            <a:ext cx="1368000" cy="41021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r>
              <a:rPr lang="zh-CN" altLang="en-US" dirty="0">
                <a:solidFill>
                  <a:srgbClr val="000000"/>
                </a:solidFill>
                <a:sym typeface="+mn-ea"/>
              </a:rPr>
              <a:t>解决的问题</a:t>
            </a:r>
            <a:endParaRPr lang="zh-CN" altLang="en-US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10" name="矩形 9"/>
          <p:cNvSpPr/>
          <p:nvPr>
            <p:custDataLst>
              <p:tags r:id="rId6"/>
            </p:custDataLst>
          </p:nvPr>
        </p:nvSpPr>
        <p:spPr>
          <a:xfrm>
            <a:off x="6766560" y="4529455"/>
            <a:ext cx="1368000" cy="410210"/>
          </a:xfrm>
          <a:prstGeom prst="rect">
            <a:avLst/>
          </a:prstGeom>
          <a:solidFill>
            <a:srgbClr val="FFFF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    <a:noAutofit/>
          </a:bodyPr>
          <a:p>
            <a:r>
              <a:rPr lang="zh-CN" altLang="en-US" dirty="0">
                <a:solidFill>
                  <a:srgbClr val="000000"/>
                </a:solidFill>
                <a:sym typeface="+mn-ea"/>
              </a:rPr>
              <a:t>价值成效</a:t>
            </a:r>
            <a:endParaRPr lang="zh-CN" altLang="en-US" dirty="0">
              <a:solidFill>
                <a:srgbClr val="000000"/>
              </a:solidFill>
              <a:latin typeface="微软雅黑" panose="020B0503020204020204" pitchFamily="34" charset="-122"/>
              <a:ea typeface="微软雅黑" panose="020B0503020204020204" pitchFamily="34" charset="-122"/>
            </a:endParaRPr>
          </a:p>
        </p:txBody>
      </p:sp>
      <p:sp>
        <p:nvSpPr>
          <p:cNvPr id="27" name="文本框 26"/>
          <p:cNvSpPr txBox="1"/>
          <p:nvPr>
            <p:custDataLst>
              <p:tags r:id="rId7"/>
            </p:custDataLst>
          </p:nvPr>
        </p:nvSpPr>
        <p:spPr>
          <a:xfrm>
            <a:off x="1365885" y="988060"/>
            <a:ext cx="9949180" cy="337185"/>
          </a:xfrm>
          <a:prstGeom prst="rect">
            <a:avLst/>
          </a:prstGeom>
          <a:noFill/>
        </p:spPr>
        <p:txBody>
          <a:bodyPr wrap="square" rtlCol="0">
            <a:spAutoFit/>
          </a:bodyPr>
          <a:p>
            <a:pPr indent="0" algn="l">
              <a:buFont typeface="Arial" panose="020B0604020202020204" pitchFamily="34" charset="0"/>
              <a:buNone/>
            </a:pPr>
            <a:r>
              <a:rPr sz="1600" dirty="0" smtClean="0">
                <a:effectLst/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提供专用的大模型BI和文档生成服务，可跟据用户输入快速生成每日巡检报告等各种图表、报表、文档等内容。</a:t>
            </a:r>
            <a:endParaRPr sz="1600" dirty="0" smtClean="0">
              <a:effectLst/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pic>
        <p:nvPicPr>
          <p:cNvPr id="6" name="图片 5"/>
          <p:cNvPicPr>
            <a:picLocks noChangeAspect="1"/>
          </p:cNvPicPr>
          <p:nvPr>
            <p:custDataLst>
              <p:tags r:id="rId8"/>
            </p:custDataLst>
          </p:nvPr>
        </p:nvPicPr>
        <p:blipFill>
          <a:blip r:embed="rId9"/>
          <a:stretch>
            <a:fillRect/>
          </a:stretch>
        </p:blipFill>
        <p:spPr>
          <a:xfrm>
            <a:off x="3793490" y="1616075"/>
            <a:ext cx="2239010" cy="2427605"/>
          </a:xfrm>
          <a:prstGeom prst="rect">
            <a:avLst/>
          </a:prstGeom>
          <a:ln>
            <a:solidFill>
              <a:srgbClr val="C00000"/>
            </a:solidFill>
          </a:ln>
        </p:spPr>
      </p:pic>
      <p:pic>
        <p:nvPicPr>
          <p:cNvPr id="7" name="图片 6"/>
          <p:cNvPicPr>
            <a:picLocks noChangeAspect="1"/>
          </p:cNvPicPr>
          <p:nvPr>
            <p:custDataLst>
              <p:tags r:id="rId10"/>
            </p:custDataLst>
          </p:nvPr>
        </p:nvPicPr>
        <p:blipFill>
          <a:blip r:embed="rId11"/>
          <a:stretch>
            <a:fillRect/>
          </a:stretch>
        </p:blipFill>
        <p:spPr>
          <a:xfrm>
            <a:off x="521970" y="4270375"/>
            <a:ext cx="2919730" cy="1859915"/>
          </a:xfrm>
          <a:prstGeom prst="rect">
            <a:avLst/>
          </a:prstGeom>
          <a:ln>
            <a:solidFill>
              <a:srgbClr val="C00000"/>
            </a:solidFill>
          </a:ln>
        </p:spPr>
      </p:pic>
      <p:sp>
        <p:nvSpPr>
          <p:cNvPr id="40" name="矩形 39"/>
          <p:cNvSpPr/>
          <p:nvPr>
            <p:custDataLst>
              <p:tags r:id="rId12"/>
            </p:custDataLst>
          </p:nvPr>
        </p:nvSpPr>
        <p:spPr>
          <a:xfrm>
            <a:off x="412750" y="2374900"/>
            <a:ext cx="2874010" cy="1266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通过数据预处理与特征提取，将门前四包</a:t>
            </a:r>
            <a:r>
              <a:rPr lang="zh-CN" altLang="en-US" sz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事件数据转化为模型可理解形式；训练学习报告生成逻辑；模型根据数据和模板自动生成报告，实现高效、准确的报告生成。</a:t>
            </a:r>
            <a:endParaRPr lang="zh-CN" altLang="en-US" sz="120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35" name="矩形 34"/>
          <p:cNvSpPr/>
          <p:nvPr>
            <p:custDataLst>
              <p:tags r:id="rId13"/>
            </p:custDataLst>
          </p:nvPr>
        </p:nvSpPr>
        <p:spPr>
          <a:xfrm>
            <a:off x="3653155" y="4792345"/>
            <a:ext cx="2900045" cy="1266825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Overflow="overflow" horzOverflow="overflow" vert="horz" wrap="square" numCol="1" spcCol="0" rtlCol="0" fromWordArt="0" anchor="ctr" anchorCtr="0" forceAA="0" compatLnSpc="1">
            <a:noAutofit/>
          </a:bodyPr>
          <a:p>
            <a:pPr lvl="0" algn="l">
              <a:lnSpc>
                <a:spcPct val="150000"/>
              </a:lnSpc>
              <a:buClrTx/>
              <a:buSzTx/>
              <a:buFontTx/>
            </a:pPr>
            <a:r>
              <a:rPr lang="zh-CN" altLang="en-US" sz="1200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通过预训练大模型理解自然语言问题，将问题转化为对知识库的查询，利用知识图谱中的实体、关系进行推理，快速检索并生成准确答案，实现高效智能问答。</a:t>
            </a:r>
            <a:endParaRPr lang="zh-CN" altLang="en-US" sz="1200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69" name="文本框 68"/>
          <p:cNvSpPr txBox="1"/>
          <p:nvPr>
            <p:custDataLst>
              <p:tags r:id="rId14"/>
            </p:custDataLst>
          </p:nvPr>
        </p:nvSpPr>
        <p:spPr>
          <a:xfrm>
            <a:off x="419100" y="2042160"/>
            <a:ext cx="1778000" cy="30670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2400">
                <a:gradFill flip="none" rotWithShape="1">
                  <a:gsLst>
                    <a:gs pos="100000">
                      <a:schemeClr val="accent2">
                        <a:lumMod val="68000"/>
                        <a:lumOff val="32000"/>
                      </a:schemeClr>
                    </a:gs>
                    <a:gs pos="5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sz="1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智能报告生成：</a:t>
            </a:r>
            <a:endParaRPr lang="zh-CN" sz="1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4" name="文本框 13"/>
          <p:cNvSpPr txBox="1"/>
          <p:nvPr>
            <p:custDataLst>
              <p:tags r:id="rId15"/>
            </p:custDataLst>
          </p:nvPr>
        </p:nvSpPr>
        <p:spPr>
          <a:xfrm>
            <a:off x="3663950" y="4457700"/>
            <a:ext cx="1778000" cy="306705"/>
          </a:xfrm>
          <a:prstGeom prst="rect">
            <a:avLst/>
          </a:prstGeom>
          <a:noFill/>
        </p:spPr>
        <p:txBody>
          <a:bodyPr wrap="square">
            <a:spAutoFit/>
          </a:bodyPr>
          <a:lstStyle>
            <a:defPPr>
              <a:defRPr lang="zh-CN"/>
            </a:defPPr>
            <a:lvl1pPr algn="ctr">
              <a:defRPr sz="2400">
                <a:gradFill flip="none" rotWithShape="1">
                  <a:gsLst>
                    <a:gs pos="100000">
                      <a:schemeClr val="accent2">
                        <a:lumMod val="68000"/>
                        <a:lumOff val="32000"/>
                      </a:schemeClr>
                    </a:gs>
                    <a:gs pos="50000">
                      <a:schemeClr val="accent1"/>
                    </a:gs>
                  </a:gsLst>
                  <a:lin ang="2700000" scaled="1"/>
                  <a:tileRect/>
                </a:gradFill>
                <a:latin typeface="+mj-ea"/>
                <a:ea typeface="+mj-ea"/>
              </a:defRPr>
            </a:lvl1pPr>
          </a:lstStyle>
          <a:p>
            <a:pPr lvl="0" algn="l">
              <a:buClrTx/>
              <a:buSzTx/>
              <a:buFontTx/>
            </a:pPr>
            <a:r>
              <a:rPr lang="zh-CN" altLang="en-US" sz="1400" b="1">
                <a:solidFill>
                  <a:schemeClr val="tx1"/>
                </a:solidFill>
                <a:latin typeface="微软雅黑" panose="020B0503020204020204" pitchFamily="34" charset="-122"/>
                <a:ea typeface="微软雅黑" panose="020B0503020204020204" pitchFamily="34" charset="-122"/>
                <a:sym typeface="+mn-ea"/>
              </a:rPr>
              <a:t>业务知识问答</a:t>
            </a:r>
            <a:endParaRPr lang="zh-CN" altLang="en-US" sz="1400" b="1">
              <a:solidFill>
                <a:schemeClr val="tx1"/>
              </a:solidFill>
              <a:latin typeface="微软雅黑" panose="020B0503020204020204" pitchFamily="34" charset="-122"/>
              <a:ea typeface="微软雅黑" panose="020B0503020204020204" pitchFamily="34" charset="-122"/>
              <a:sym typeface="+mn-ea"/>
            </a:endParaRPr>
          </a:p>
        </p:txBody>
      </p:sp>
      <p:sp>
        <p:nvSpPr>
          <p:cNvPr id="15" name="文本框 14"/>
          <p:cNvSpPr txBox="1"/>
          <p:nvPr>
            <p:custDataLst>
              <p:tags r:id="rId16"/>
            </p:custDataLst>
          </p:nvPr>
        </p:nvSpPr>
        <p:spPr>
          <a:xfrm>
            <a:off x="6748145" y="2072005"/>
            <a:ext cx="4773930" cy="119443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lvl="0" algn="just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①：传统人工收集数据、整理信息、编写报告，生成效率低、准确性差、人力成本高、难以满足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定制化需求；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lvl="0" algn="just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②：业务知识问答需人工查找资料，传统问答系统预制问答对回答死板，缺乏复杂问题组织和回答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能力。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  <p:sp>
        <p:nvSpPr>
          <p:cNvPr id="16" name="文本框 15"/>
          <p:cNvSpPr txBox="1"/>
          <p:nvPr>
            <p:custDataLst>
              <p:tags r:id="rId17"/>
            </p:custDataLst>
          </p:nvPr>
        </p:nvSpPr>
        <p:spPr>
          <a:xfrm>
            <a:off x="6752590" y="5010785"/>
            <a:ext cx="4909820" cy="1362075"/>
          </a:xfrm>
          <a:prstGeom prst="rect">
            <a:avLst/>
          </a:prstGeom>
          <a:noFill/>
        </p:spPr>
        <p:txBody>
          <a:bodyPr wrap="square" rtlCol="0">
            <a:noAutofit/>
          </a:bodyPr>
          <a:p>
            <a:pPr lvl="0" algn="just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①：将原本需要几天乃至一周进行人工统计编制，转变为分钟级的自动生成，准确性高、一致性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好；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  <a:p>
            <a:pPr lvl="0" algn="just">
              <a:lnSpc>
                <a:spcPct val="150000"/>
              </a:lnSpc>
              <a:buClrTx/>
              <a:buSzTx/>
              <a:buFontTx/>
            </a:pP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②：实现事件政策法规、处置流程、应急预案、总结报告等智能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组织、检索与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回答，快速指导事件处置与决策</a:t>
            </a:r>
            <a:r>
              <a:rPr lang="zh-CN" altLang="en-US" sz="1400">
                <a:latin typeface="微软雅黑" panose="020B0503020204020204" pitchFamily="34" charset="-122"/>
                <a:ea typeface="微软雅黑" panose="020B0503020204020204" pitchFamily="34" charset="-122"/>
                <a:cs typeface="微软雅黑" panose="020B0503020204020204" pitchFamily="34" charset="-122"/>
                <a:sym typeface="+mn-ea"/>
              </a:rPr>
              <a:t>指挥。</a:t>
            </a:r>
            <a:endParaRPr lang="zh-CN" altLang="en-US" sz="1400">
              <a:latin typeface="微软雅黑" panose="020B0503020204020204" pitchFamily="34" charset="-122"/>
              <a:ea typeface="微软雅黑" panose="020B0503020204020204" pitchFamily="34" charset="-122"/>
              <a:cs typeface="微软雅黑" panose="020B0503020204020204" pitchFamily="34" charset="-122"/>
              <a:sym typeface="+mn-ea"/>
            </a:endParaRPr>
          </a:p>
        </p:txBody>
      </p:sp>
    </p:spTree>
  </p:cSld>
  <p:clrMapOvr>
    <a:masterClrMapping/>
  </p:clrMapOvr>
  <p:transition/>
</p:sld>
</file>

<file path=ppt/tags/tag1.xml><?xml version="1.0" encoding="utf-8"?>
<p:tagLst xmlns:p="http://schemas.openxmlformats.org/presentationml/2006/main">
  <p:tag name="THINKCELLSHAPEDONOTDELETE" val="thinkcellActiveDocDoNotDelete"/>
</p:tagLst>
</file>

<file path=ppt/tags/tag10.xml><?xml version="1.0" encoding="utf-8"?>
<p:tagLst xmlns:p="http://schemas.openxmlformats.org/presentationml/2006/main">
  <p:tag name="KSO_WM_BEAUTIFY_FLAG" val=""/>
</p:tagLst>
</file>

<file path=ppt/tags/tag100.xml><?xml version="1.0" encoding="utf-8"?>
<p:tagLst xmlns:p="http://schemas.openxmlformats.org/presentationml/2006/main">
  <p:tag name="KSO_WM_BEAUTIFY_FLAG" val=""/>
</p:tagLst>
</file>

<file path=ppt/tags/tag101.xml><?xml version="1.0" encoding="utf-8"?>
<p:tagLst xmlns:p="http://schemas.openxmlformats.org/presentationml/2006/main">
  <p:tag name="KSO_WM_BEAUTIFY_FLAG" val=""/>
</p:tagLst>
</file>

<file path=ppt/tags/tag102.xml><?xml version="1.0" encoding="utf-8"?>
<p:tagLst xmlns:p="http://schemas.openxmlformats.org/presentationml/2006/main">
  <p:tag name="KSO_WM_BEAUTIFY_FLAG" val=""/>
</p:tagLst>
</file>

<file path=ppt/tags/tag103.xml><?xml version="1.0" encoding="utf-8"?>
<p:tagLst xmlns:p="http://schemas.openxmlformats.org/presentationml/2006/main">
  <p:tag name="KSO_WM_BEAUTIFY_FLAG" val=""/>
</p:tagLst>
</file>

<file path=ppt/tags/tag104.xml><?xml version="1.0" encoding="utf-8"?>
<p:tagLst xmlns:p="http://schemas.openxmlformats.org/presentationml/2006/main">
  <p:tag name="KSO_WM_BEAUTIFY_FLAG" val=""/>
</p:tagLst>
</file>

<file path=ppt/tags/tag105.xml><?xml version="1.0" encoding="utf-8"?>
<p:tagLst xmlns:p="http://schemas.openxmlformats.org/presentationml/2006/main">
  <p:tag name="KSO_WM_BEAUTIFY_FLAG" val=""/>
</p:tagLst>
</file>

<file path=ppt/tags/tag106.xml><?xml version="1.0" encoding="utf-8"?>
<p:tagLst xmlns:p="http://schemas.openxmlformats.org/presentationml/2006/main">
  <p:tag name="KSO_WM_BEAUTIFY_FLAG" val=""/>
</p:tagLst>
</file>

<file path=ppt/tags/tag107.xml><?xml version="1.0" encoding="utf-8"?>
<p:tagLst xmlns:p="http://schemas.openxmlformats.org/presentationml/2006/main">
  <p:tag name="KSO_WM_BEAUTIFY_FLAG" val=""/>
</p:tagLst>
</file>

<file path=ppt/tags/tag108.xml><?xml version="1.0" encoding="utf-8"?>
<p:tagLst xmlns:p="http://schemas.openxmlformats.org/presentationml/2006/main">
  <p:tag name="KSO_WM_BEAUTIFY_FLAG" val=""/>
</p:tagLst>
</file>

<file path=ppt/tags/tag109.xml><?xml version="1.0" encoding="utf-8"?>
<p:tagLst xmlns:p="http://schemas.openxmlformats.org/presentationml/2006/main">
  <p:tag name="KSO_WM_BEAUTIFY_FLAG" val=""/>
</p:tagLst>
</file>

<file path=ppt/tags/tag11.xml><?xml version="1.0" encoding="utf-8"?>
<p:tagLst xmlns:p="http://schemas.openxmlformats.org/presentationml/2006/main">
  <p:tag name="KSO_WM_BEAUTIFY_FLAG" val=""/>
</p:tagLst>
</file>

<file path=ppt/tags/tag110.xml><?xml version="1.0" encoding="utf-8"?>
<p:tagLst xmlns:p="http://schemas.openxmlformats.org/presentationml/2006/main">
  <p:tag name="KSO_WM_BEAUTIFY_FLAG" val=""/>
</p:tagLst>
</file>

<file path=ppt/tags/tag111.xml><?xml version="1.0" encoding="utf-8"?>
<p:tagLst xmlns:p="http://schemas.openxmlformats.org/presentationml/2006/main">
  <p:tag name="KSO_WM_BEAUTIFY_FLAG" val=""/>
</p:tagLst>
</file>

<file path=ppt/tags/tag112.xml><?xml version="1.0" encoding="utf-8"?>
<p:tagLst xmlns:p="http://schemas.openxmlformats.org/presentationml/2006/main">
  <p:tag name="KSO_WM_BEAUTIFY_FLAG" val=""/>
</p:tagLst>
</file>

<file path=ppt/tags/tag113.xml><?xml version="1.0" encoding="utf-8"?>
<p:tagLst xmlns:p="http://schemas.openxmlformats.org/presentationml/2006/main">
  <p:tag name="KSO_WM_BEAUTIFY_FLAG" val=""/>
</p:tagLst>
</file>

<file path=ppt/tags/tag114.xml><?xml version="1.0" encoding="utf-8"?>
<p:tagLst xmlns:p="http://schemas.openxmlformats.org/presentationml/2006/main">
  <p:tag name="KSO_WM_BEAUTIFY_FLAG" val=""/>
</p:tagLst>
</file>

<file path=ppt/tags/tag115.xml><?xml version="1.0" encoding="utf-8"?>
<p:tagLst xmlns:p="http://schemas.openxmlformats.org/presentationml/2006/main">
  <p:tag name="KSO_WM_BEAUTIFY_FLAG" val=""/>
</p:tagLst>
</file>

<file path=ppt/tags/tag116.xml><?xml version="1.0" encoding="utf-8"?>
<p:tagLst xmlns:p="http://schemas.openxmlformats.org/presentationml/2006/main">
  <p:tag name="KSO_WM_BEAUTIFY_FLAG" val=""/>
</p:tagLst>
</file>

<file path=ppt/tags/tag117.xml><?xml version="1.0" encoding="utf-8"?>
<p:tagLst xmlns:p="http://schemas.openxmlformats.org/presentationml/2006/main">
  <p:tag name="KSO_WM_BEAUTIFY_FLAG" val=""/>
</p:tagLst>
</file>

<file path=ppt/tags/tag118.xml><?xml version="1.0" encoding="utf-8"?>
<p:tagLst xmlns:p="http://schemas.openxmlformats.org/presentationml/2006/main">
  <p:tag name="KSO_WM_BEAUTIFY_FLAG" val=""/>
</p:tagLst>
</file>

<file path=ppt/tags/tag119.xml><?xml version="1.0" encoding="utf-8"?>
<p:tagLst xmlns:p="http://schemas.openxmlformats.org/presentationml/2006/main">
  <p:tag name="KSO_WM_BEAUTIFY_FLAG" val=""/>
</p:tagLst>
</file>

<file path=ppt/tags/tag12.xml><?xml version="1.0" encoding="utf-8"?>
<p:tagLst xmlns:p="http://schemas.openxmlformats.org/presentationml/2006/main">
  <p:tag name="KSO_WM_BEAUTIFY_FLAG" val=""/>
</p:tagLst>
</file>

<file path=ppt/tags/tag120.xml><?xml version="1.0" encoding="utf-8"?>
<p:tagLst xmlns:p="http://schemas.openxmlformats.org/presentationml/2006/main">
  <p:tag name="KSO_WM_BEAUTIFY_FLAG" val=""/>
</p:tagLst>
</file>

<file path=ppt/tags/tag121.xml><?xml version="1.0" encoding="utf-8"?>
<p:tagLst xmlns:p="http://schemas.openxmlformats.org/presentationml/2006/main">
  <p:tag name="KSO_WM_BEAUTIFY_FLAG" val=""/>
</p:tagLst>
</file>

<file path=ppt/tags/tag122.xml><?xml version="1.0" encoding="utf-8"?>
<p:tagLst xmlns:p="http://schemas.openxmlformats.org/presentationml/2006/main">
  <p:tag name="KSO_WM_BEAUTIFY_FLAG" val=""/>
</p:tagLst>
</file>

<file path=ppt/tags/tag123.xml><?xml version="1.0" encoding="utf-8"?>
<p:tagLst xmlns:p="http://schemas.openxmlformats.org/presentationml/2006/main">
  <p:tag name="KSO_WM_BEAUTIFY_FLAG" val=""/>
</p:tagLst>
</file>

<file path=ppt/tags/tag124.xml><?xml version="1.0" encoding="utf-8"?>
<p:tagLst xmlns:p="http://schemas.openxmlformats.org/presentationml/2006/main">
  <p:tag name="KSO_WM_BEAUTIFY_FLAG" val=""/>
</p:tagLst>
</file>

<file path=ppt/tags/tag125.xml><?xml version="1.0" encoding="utf-8"?>
<p:tagLst xmlns:p="http://schemas.openxmlformats.org/presentationml/2006/main">
  <p:tag name="KSO_WM_BEAUTIFY_FLAG" val=""/>
</p:tagLst>
</file>

<file path=ppt/tags/tag126.xml><?xml version="1.0" encoding="utf-8"?>
<p:tagLst xmlns:p="http://schemas.openxmlformats.org/presentationml/2006/main">
  <p:tag name="KSO_WM_BEAUTIFY_FLAG" val=""/>
</p:tagLst>
</file>

<file path=ppt/tags/tag127.xml><?xml version="1.0" encoding="utf-8"?>
<p:tagLst xmlns:p="http://schemas.openxmlformats.org/presentationml/2006/main">
  <p:tag name="KSO_WM_BEAUTIFY_FLAG" val=""/>
</p:tagLst>
</file>

<file path=ppt/tags/tag128.xml><?xml version="1.0" encoding="utf-8"?>
<p:tagLst xmlns:p="http://schemas.openxmlformats.org/presentationml/2006/main">
  <p:tag name="KSO_WM_BEAUTIFY_FLAG" val=""/>
</p:tagLst>
</file>

<file path=ppt/tags/tag129.xml><?xml version="1.0" encoding="utf-8"?>
<p:tagLst xmlns:p="http://schemas.openxmlformats.org/presentationml/2006/main">
  <p:tag name="KSO_WM_BEAUTIFY_FLAG" val=""/>
</p:tagLst>
</file>

<file path=ppt/tags/tag13.xml><?xml version="1.0" encoding="utf-8"?>
<p:tagLst xmlns:p="http://schemas.openxmlformats.org/presentationml/2006/main">
  <p:tag name="KSO_WM_BEAUTIFY_FLAG" val=""/>
</p:tagLst>
</file>

<file path=ppt/tags/tag130.xml><?xml version="1.0" encoding="utf-8"?>
<p:tagLst xmlns:p="http://schemas.openxmlformats.org/presentationml/2006/main">
  <p:tag name="KSO_WM_BEAUTIFY_FLAG" val=""/>
</p:tagLst>
</file>

<file path=ppt/tags/tag131.xml><?xml version="1.0" encoding="utf-8"?>
<p:tagLst xmlns:p="http://schemas.openxmlformats.org/presentationml/2006/main">
  <p:tag name="KSO_WM_BEAUTIFY_FLAG" val=""/>
</p:tagLst>
</file>

<file path=ppt/tags/tag132.xml><?xml version="1.0" encoding="utf-8"?>
<p:tagLst xmlns:p="http://schemas.openxmlformats.org/presentationml/2006/main">
  <p:tag name="KSO_WM_BEAUTIFY_FLAG" val=""/>
</p:tagLst>
</file>

<file path=ppt/tags/tag133.xml><?xml version="1.0" encoding="utf-8"?>
<p:tagLst xmlns:p="http://schemas.openxmlformats.org/presentationml/2006/main">
  <p:tag name="KSO_WM_BEAUTIFY_FLAG" val=""/>
</p:tagLst>
</file>

<file path=ppt/tags/tag134.xml><?xml version="1.0" encoding="utf-8"?>
<p:tagLst xmlns:p="http://schemas.openxmlformats.org/presentationml/2006/main">
  <p:tag name="KSO_WM_BEAUTIFY_FLAG" val=""/>
</p:tagLst>
</file>

<file path=ppt/tags/tag135.xml><?xml version="1.0" encoding="utf-8"?>
<p:tagLst xmlns:p="http://schemas.openxmlformats.org/presentationml/2006/main">
  <p:tag name="KSO_WM_BEAUTIFY_FLAG" val=""/>
</p:tagLst>
</file>

<file path=ppt/tags/tag136.xml><?xml version="1.0" encoding="utf-8"?>
<p:tagLst xmlns:p="http://schemas.openxmlformats.org/presentationml/2006/main">
  <p:tag name="KSO_WM_BEAUTIFY_FLAG" val=""/>
</p:tagLst>
</file>

<file path=ppt/tags/tag137.xml><?xml version="1.0" encoding="utf-8"?>
<p:tagLst xmlns:p="http://schemas.openxmlformats.org/presentationml/2006/main">
  <p:tag name="KSO_WM_BEAUTIFY_FLAG" val=""/>
</p:tagLst>
</file>

<file path=ppt/tags/tag138.xml><?xml version="1.0" encoding="utf-8"?>
<p:tagLst xmlns:p="http://schemas.openxmlformats.org/presentationml/2006/main">
  <p:tag name="KSO_WM_BEAUTIFY_FLAG" val=""/>
</p:tagLst>
</file>

<file path=ppt/tags/tag139.xml><?xml version="1.0" encoding="utf-8"?>
<p:tagLst xmlns:p="http://schemas.openxmlformats.org/presentationml/2006/main">
  <p:tag name="KSO_WM_BEAUTIFY_FLAG" val=""/>
</p:tagLst>
</file>

<file path=ppt/tags/tag14.xml><?xml version="1.0" encoding="utf-8"?>
<p:tagLst xmlns:p="http://schemas.openxmlformats.org/presentationml/2006/main">
  <p:tag name="KSO_WM_BEAUTIFY_FLAG" val=""/>
</p:tagLst>
</file>

<file path=ppt/tags/tag140.xml><?xml version="1.0" encoding="utf-8"?>
<p:tagLst xmlns:p="http://schemas.openxmlformats.org/presentationml/2006/main">
  <p:tag name="KSO_WM_BEAUTIFY_FLAG" val=""/>
</p:tagLst>
</file>

<file path=ppt/tags/tag141.xml><?xml version="1.0" encoding="utf-8"?>
<p:tagLst xmlns:p="http://schemas.openxmlformats.org/presentationml/2006/main">
  <p:tag name="KSO_WM_BEAUTIFY_FLAG" val=""/>
</p:tagLst>
</file>

<file path=ppt/tags/tag142.xml><?xml version="1.0" encoding="utf-8"?>
<p:tagLst xmlns:p="http://schemas.openxmlformats.org/presentationml/2006/main">
  <p:tag name="KSO_WM_BEAUTIFY_FLAG" val=""/>
</p:tagLst>
</file>

<file path=ppt/tags/tag143.xml><?xml version="1.0" encoding="utf-8"?>
<p:tagLst xmlns:p="http://schemas.openxmlformats.org/presentationml/2006/main">
  <p:tag name="KSO_WM_BEAUTIFY_FLAG" val=""/>
</p:tagLst>
</file>

<file path=ppt/tags/tag144.xml><?xml version="1.0" encoding="utf-8"?>
<p:tagLst xmlns:p="http://schemas.openxmlformats.org/presentationml/2006/main">
  <p:tag name="KSO_WM_BEAUTIFY_FLAG" val=""/>
</p:tagLst>
</file>

<file path=ppt/tags/tag145.xml><?xml version="1.0" encoding="utf-8"?>
<p:tagLst xmlns:p="http://schemas.openxmlformats.org/presentationml/2006/main">
  <p:tag name="KSO_WM_BEAUTIFY_FLAG" val=""/>
</p:tagLst>
</file>

<file path=ppt/tags/tag146.xml><?xml version="1.0" encoding="utf-8"?>
<p:tagLst xmlns:p="http://schemas.openxmlformats.org/presentationml/2006/main">
  <p:tag name="KSO_WM_DIAGRAM_VIRTUALLY_FRAME" val="{&quot;height&quot;:349.1,&quot;left&quot;:730.25,&quot;top&quot;:116.5,&quot;width&quot;:206.29055118110227}"/>
</p:tagLst>
</file>

<file path=ppt/tags/tag147.xml><?xml version="1.0" encoding="utf-8"?>
<p:tagLst xmlns:p="http://schemas.openxmlformats.org/presentationml/2006/main">
  <p:tag name="KSO_WM_DIAGRAM_VIRTUALLY_FRAME" val="{&quot;height&quot;:349.1,&quot;left&quot;:730.25,&quot;top&quot;:116.5,&quot;width&quot;:206.29055118110227}"/>
  <p:tag name="KSO_WM_BEAUTIFY_FLAG" val=""/>
</p:tagLst>
</file>

<file path=ppt/tags/tag148.xml><?xml version="1.0" encoding="utf-8"?>
<p:tagLst xmlns:p="http://schemas.openxmlformats.org/presentationml/2006/main">
  <p:tag name="KSO_WM_DIAGRAM_VIRTUALLY_FRAME" val="{&quot;height&quot;:349.1,&quot;left&quot;:730.25,&quot;top&quot;:116.5,&quot;width&quot;:206.29055118110227}"/>
  <p:tag name="KSO_WM_BEAUTIFY_FLAG" val=""/>
</p:tagLst>
</file>

<file path=ppt/tags/tag149.xml><?xml version="1.0" encoding="utf-8"?>
<p:tagLst xmlns:p="http://schemas.openxmlformats.org/presentationml/2006/main">
  <p:tag name="KSO_WM_DIAGRAM_VIRTUALLY_FRAME" val="{&quot;height&quot;:349.1,&quot;left&quot;:730.25,&quot;top&quot;:116.5,&quot;width&quot;:206.29055118110227}"/>
  <p:tag name="KSO_WM_BEAUTIFY_FLAG" val=""/>
</p:tagLst>
</file>

<file path=ppt/tags/tag15.xml><?xml version="1.0" encoding="utf-8"?>
<p:tagLst xmlns:p="http://schemas.openxmlformats.org/presentationml/2006/main">
  <p:tag name="KSO_WM_BEAUTIFY_FLAG" val=""/>
</p:tagLst>
</file>

<file path=ppt/tags/tag150.xml><?xml version="1.0" encoding="utf-8"?>
<p:tagLst xmlns:p="http://schemas.openxmlformats.org/presentationml/2006/main">
  <p:tag name="KSO_WM_DIAGRAM_VIRTUALLY_FRAME" val="{&quot;height&quot;:349.1,&quot;left&quot;:730.25,&quot;top&quot;:116.5,&quot;width&quot;:206.29055118110227}"/>
  <p:tag name="KSO_WM_BEAUTIFY_FLAG" val=""/>
</p:tagLst>
</file>

<file path=ppt/tags/tag151.xml><?xml version="1.0" encoding="utf-8"?>
<p:tagLst xmlns:p="http://schemas.openxmlformats.org/presentationml/2006/main">
  <p:tag name="KSO_WM_DIAGRAM_VIRTUALLY_FRAME" val="{&quot;height&quot;:349.1,&quot;left&quot;:730.25,&quot;top&quot;:116.5,&quot;width&quot;:206.29055118110227}"/>
  <p:tag name="KSO_WM_BEAUTIFY_FLAG" val=""/>
</p:tagLst>
</file>

<file path=ppt/tags/tag152.xml><?xml version="1.0" encoding="utf-8"?>
<p:tagLst xmlns:p="http://schemas.openxmlformats.org/presentationml/2006/main">
  <p:tag name="KSO_WM_DIAGRAM_VIRTUALLY_FRAME" val="{&quot;height&quot;:349.1,&quot;left&quot;:730.25,&quot;top&quot;:116.5,&quot;width&quot;:206.29055118110227}"/>
  <p:tag name="KSO_WM_BEAUTIFY_FLAG" val=""/>
</p:tagLst>
</file>

<file path=ppt/tags/tag153.xml><?xml version="1.0" encoding="utf-8"?>
<p:tagLst xmlns:p="http://schemas.openxmlformats.org/presentationml/2006/main">
  <p:tag name="KSO_WM_DIAGRAM_VIRTUALLY_FRAME" val="{&quot;height&quot;:349.1,&quot;left&quot;:730.25,&quot;top&quot;:116.5,&quot;width&quot;:206.29055118110227}"/>
  <p:tag name="KSO_WM_BEAUTIFY_FLAG" val=""/>
</p:tagLst>
</file>

<file path=ppt/tags/tag154.xml><?xml version="1.0" encoding="utf-8"?>
<p:tagLst xmlns:p="http://schemas.openxmlformats.org/presentationml/2006/main">
  <p:tag name="KSO_WM_DIAGRAM_VIRTUALLY_FRAME" val="{&quot;height&quot;:349.1,&quot;left&quot;:730.25,&quot;top&quot;:116.5,&quot;width&quot;:206.29055118110227}"/>
  <p:tag name="KSO_WM_BEAUTIFY_FLAG" val=""/>
</p:tagLst>
</file>

<file path=ppt/tags/tag155.xml><?xml version="1.0" encoding="utf-8"?>
<p:tagLst xmlns:p="http://schemas.openxmlformats.org/presentationml/2006/main">
  <p:tag name="KSO_WM_BEAUTIFY_FLAG" val=""/>
</p:tagLst>
</file>

<file path=ppt/tags/tag156.xml><?xml version="1.0" encoding="utf-8"?>
<p:tagLst xmlns:p="http://schemas.openxmlformats.org/presentationml/2006/main">
  <p:tag name="KSO_WM_BEAUTIFY_FLAG" val=""/>
</p:tagLst>
</file>

<file path=ppt/tags/tag157.xml><?xml version="1.0" encoding="utf-8"?>
<p:tagLst xmlns:p="http://schemas.openxmlformats.org/presentationml/2006/main">
  <p:tag name="KSO_WM_BEAUTIFY_FLAG" val=""/>
</p:tagLst>
</file>

<file path=ppt/tags/tag158.xml><?xml version="1.0" encoding="utf-8"?>
<p:tagLst xmlns:p="http://schemas.openxmlformats.org/presentationml/2006/main">
  <p:tag name="KSO_WM_BEAUTIFY_FLAG" val=""/>
</p:tagLst>
</file>

<file path=ppt/tags/tag159.xml><?xml version="1.0" encoding="utf-8"?>
<p:tagLst xmlns:p="http://schemas.openxmlformats.org/presentationml/2006/main">
  <p:tag name="KSO_WM_BEAUTIFY_FLAG" val=""/>
</p:tagLst>
</file>

<file path=ppt/tags/tag16.xml><?xml version="1.0" encoding="utf-8"?>
<p:tagLst xmlns:p="http://schemas.openxmlformats.org/presentationml/2006/main">
  <p:tag name="KSO_WM_BEAUTIFY_FLAG" val=""/>
</p:tagLst>
</file>

<file path=ppt/tags/tag160.xml><?xml version="1.0" encoding="utf-8"?>
<p:tagLst xmlns:p="http://schemas.openxmlformats.org/presentationml/2006/main">
  <p:tag name="KSO_WM_BEAUTIFY_FLAG" val=""/>
</p:tagLst>
</file>

<file path=ppt/tags/tag161.xml><?xml version="1.0" encoding="utf-8"?>
<p:tagLst xmlns:p="http://schemas.openxmlformats.org/presentationml/2006/main">
  <p:tag name="KSO_WM_BEAUTIFY_FLAG" val=""/>
</p:tagLst>
</file>

<file path=ppt/tags/tag162.xml><?xml version="1.0" encoding="utf-8"?>
<p:tagLst xmlns:p="http://schemas.openxmlformats.org/presentationml/2006/main">
  <p:tag name="KSO_WM_BEAUTIFY_FLAG" val=""/>
</p:tagLst>
</file>

<file path=ppt/tags/tag163.xml><?xml version="1.0" encoding="utf-8"?>
<p:tagLst xmlns:p="http://schemas.openxmlformats.org/presentationml/2006/main">
  <p:tag name="KSO_WM_BEAUTIFY_FLAG" val=""/>
</p:tagLst>
</file>

<file path=ppt/tags/tag164.xml><?xml version="1.0" encoding="utf-8"?>
<p:tagLst xmlns:p="http://schemas.openxmlformats.org/presentationml/2006/main">
  <p:tag name="KSO_WM_BEAUTIFY_FLAG" val=""/>
</p:tagLst>
</file>

<file path=ppt/tags/tag165.xml><?xml version="1.0" encoding="utf-8"?>
<p:tagLst xmlns:p="http://schemas.openxmlformats.org/presentationml/2006/main">
  <p:tag name="KSO_WM_BEAUTIFY_FLAG" val=""/>
</p:tagLst>
</file>

<file path=ppt/tags/tag166.xml><?xml version="1.0" encoding="utf-8"?>
<p:tagLst xmlns:p="http://schemas.openxmlformats.org/presentationml/2006/main">
  <p:tag name="KSO_WM_BEAUTIFY_FLAG" val=""/>
</p:tagLst>
</file>

<file path=ppt/tags/tag167.xml><?xml version="1.0" encoding="utf-8"?>
<p:tagLst xmlns:p="http://schemas.openxmlformats.org/presentationml/2006/main">
  <p:tag name="KSO_WM_BEAUTIFY_FLAG" val=""/>
</p:tagLst>
</file>

<file path=ppt/tags/tag168.xml><?xml version="1.0" encoding="utf-8"?>
<p:tagLst xmlns:p="http://schemas.openxmlformats.org/presentationml/2006/main">
  <p:tag name="KSO_WM_BEAUTIFY_FLAG" val=""/>
</p:tagLst>
</file>

<file path=ppt/tags/tag169.xml><?xml version="1.0" encoding="utf-8"?>
<p:tagLst xmlns:p="http://schemas.openxmlformats.org/presentationml/2006/main">
  <p:tag name="KSO_WM_BEAUTIFY_FLAG" val=""/>
</p:tagLst>
</file>

<file path=ppt/tags/tag17.xml><?xml version="1.0" encoding="utf-8"?>
<p:tagLst xmlns:p="http://schemas.openxmlformats.org/presentationml/2006/main">
  <p:tag name="KSO_WM_BEAUTIFY_FLAG" val=""/>
</p:tagLst>
</file>

<file path=ppt/tags/tag170.xml><?xml version="1.0" encoding="utf-8"?>
<p:tagLst xmlns:p="http://schemas.openxmlformats.org/presentationml/2006/main">
  <p:tag name="COMMONDATA" val="eyJoZGlkIjoiNWZhMGEzYzJjMWNkY2RiMTBhYjBlY2M5OTI5YmM1YWQifQ=="/>
  <p:tag name="RESOURCE_RECORD_KEY" val="{&quot;13&quot;:[4364954,20481652,19972048,4670873,4721902,4364957],&quot;29&quot;:[20426319]}"/>
  <p:tag name="commondata" val="eyJoZGlkIjoiMzEwNTM5NzYwMDRjMzkwZTVkZjY2ODkwMGIxNGU0OTUifQ=="/>
</p:tagLst>
</file>

<file path=ppt/tags/tag18.xml><?xml version="1.0" encoding="utf-8"?>
<p:tagLst xmlns:p="http://schemas.openxmlformats.org/presentationml/2006/main">
  <p:tag name="KSO_WM_BEAUTIFY_FLAG" val=""/>
</p:tagLst>
</file>

<file path=ppt/tags/tag19.xml><?xml version="1.0" encoding="utf-8"?>
<p:tagLst xmlns:p="http://schemas.openxmlformats.org/presentationml/2006/main">
  <p:tag name="KSO_WM_BEAUTIFY_FLAG" val=""/>
</p:tagLst>
</file>

<file path=ppt/tags/tag2.xml><?xml version="1.0" encoding="utf-8"?>
<p:tagLst xmlns:p="http://schemas.openxmlformats.org/presentationml/2006/main">
  <p:tag name="KSO_WM_BEAUTIFY_FLAG" val=""/>
</p:tagLst>
</file>

<file path=ppt/tags/tag20.xml><?xml version="1.0" encoding="utf-8"?>
<p:tagLst xmlns:p="http://schemas.openxmlformats.org/presentationml/2006/main">
  <p:tag name="KSO_WM_BEAUTIFY_FLAG" val=""/>
</p:tagLst>
</file>

<file path=ppt/tags/tag21.xml><?xml version="1.0" encoding="utf-8"?>
<p:tagLst xmlns:p="http://schemas.openxmlformats.org/presentationml/2006/main">
  <p:tag name="KSO_WM_BEAUTIFY_FLAG" val=""/>
</p:tagLst>
</file>

<file path=ppt/tags/tag22.xml><?xml version="1.0" encoding="utf-8"?>
<p:tagLst xmlns:p="http://schemas.openxmlformats.org/presentationml/2006/main">
  <p:tag name="KSO_WM_BEAUTIFY_FLAG" val=""/>
</p:tagLst>
</file>

<file path=ppt/tags/tag23.xml><?xml version="1.0" encoding="utf-8"?>
<p:tagLst xmlns:p="http://schemas.openxmlformats.org/presentationml/2006/main">
  <p:tag name="KSO_WM_BEAUTIFY_FLAG" val=""/>
</p:tagLst>
</file>

<file path=ppt/tags/tag24.xml><?xml version="1.0" encoding="utf-8"?>
<p:tagLst xmlns:p="http://schemas.openxmlformats.org/presentationml/2006/main">
  <p:tag name="KSO_WM_BEAUTIFY_FLAG" val=""/>
</p:tagLst>
</file>

<file path=ppt/tags/tag25.xml><?xml version="1.0" encoding="utf-8"?>
<p:tagLst xmlns:p="http://schemas.openxmlformats.org/presentationml/2006/main">
  <p:tag name="KSO_WM_BEAUTIFY_FLAG" val=""/>
</p:tagLst>
</file>

<file path=ppt/tags/tag26.xml><?xml version="1.0" encoding="utf-8"?>
<p:tagLst xmlns:p="http://schemas.openxmlformats.org/presentationml/2006/main">
  <p:tag name="KSO_WM_BEAUTIFY_FLAG" val=""/>
</p:tagLst>
</file>

<file path=ppt/tags/tag27.xml><?xml version="1.0" encoding="utf-8"?>
<p:tagLst xmlns:p="http://schemas.openxmlformats.org/presentationml/2006/main">
  <p:tag name="KSO_WM_BEAUTIFY_FLAG" val=""/>
</p:tagLst>
</file>

<file path=ppt/tags/tag28.xml><?xml version="1.0" encoding="utf-8"?>
<p:tagLst xmlns:p="http://schemas.openxmlformats.org/presentationml/2006/main">
  <p:tag name="KSO_WM_BEAUTIFY_FLAG" val=""/>
</p:tagLst>
</file>

<file path=ppt/tags/tag29.xml><?xml version="1.0" encoding="utf-8"?>
<p:tagLst xmlns:p="http://schemas.openxmlformats.org/presentationml/2006/main">
  <p:tag name="KSO_WM_BEAUTIFY_FLAG" val=""/>
</p:tagLst>
</file>

<file path=ppt/tags/tag3.xml><?xml version="1.0" encoding="utf-8"?>
<p:tagLst xmlns:p="http://schemas.openxmlformats.org/presentationml/2006/main">
  <p:tag name="KSO_WM_BEAUTIFY_FLAG" val=""/>
</p:tagLst>
</file>

<file path=ppt/tags/tag30.xml><?xml version="1.0" encoding="utf-8"?>
<p:tagLst xmlns:p="http://schemas.openxmlformats.org/presentationml/2006/main">
  <p:tag name="KSO_WM_BEAUTIFY_FLAG" val=""/>
</p:tagLst>
</file>

<file path=ppt/tags/tag31.xml><?xml version="1.0" encoding="utf-8"?>
<p:tagLst xmlns:p="http://schemas.openxmlformats.org/presentationml/2006/main">
  <p:tag name="KSO_WM_BEAUTIFY_FLAG" val=""/>
</p:tagLst>
</file>

<file path=ppt/tags/tag32.xml><?xml version="1.0" encoding="utf-8"?>
<p:tagLst xmlns:p="http://schemas.openxmlformats.org/presentationml/2006/main">
  <p:tag name="KSO_WM_BEAUTIFY_FLAG" val=""/>
</p:tagLst>
</file>

<file path=ppt/tags/tag33.xml><?xml version="1.0" encoding="utf-8"?>
<p:tagLst xmlns:p="http://schemas.openxmlformats.org/presentationml/2006/main">
  <p:tag name="KSO_WM_BEAUTIFY_FLAG" val=""/>
</p:tagLst>
</file>

<file path=ppt/tags/tag34.xml><?xml version="1.0" encoding="utf-8"?>
<p:tagLst xmlns:p="http://schemas.openxmlformats.org/presentationml/2006/main">
  <p:tag name="KSO_WM_BEAUTIFY_FLAG" val=""/>
</p:tagLst>
</file>

<file path=ppt/tags/tag35.xml><?xml version="1.0" encoding="utf-8"?>
<p:tagLst xmlns:p="http://schemas.openxmlformats.org/presentationml/2006/main">
  <p:tag name="KSO_WM_BEAUTIFY_FLAG" val=""/>
</p:tagLst>
</file>

<file path=ppt/tags/tag36.xml><?xml version="1.0" encoding="utf-8"?>
<p:tagLst xmlns:p="http://schemas.openxmlformats.org/presentationml/2006/main">
  <p:tag name="KSO_WM_BEAUTIFY_FLAG" val=""/>
</p:tagLst>
</file>

<file path=ppt/tags/tag37.xml><?xml version="1.0" encoding="utf-8"?>
<p:tagLst xmlns:p="http://schemas.openxmlformats.org/presentationml/2006/main">
  <p:tag name="KSO_WM_BEAUTIFY_FLAG" val=""/>
</p:tagLst>
</file>

<file path=ppt/tags/tag38.xml><?xml version="1.0" encoding="utf-8"?>
<p:tagLst xmlns:p="http://schemas.openxmlformats.org/presentationml/2006/main">
  <p:tag name="KSO_WM_BEAUTIFY_FLAG" val=""/>
</p:tagLst>
</file>

<file path=ppt/tags/tag39.xml><?xml version="1.0" encoding="utf-8"?>
<p:tagLst xmlns:p="http://schemas.openxmlformats.org/presentationml/2006/main">
  <p:tag name="KSO_WM_BEAUTIFY_FLAG" val=""/>
</p:tagLst>
</file>

<file path=ppt/tags/tag4.xml><?xml version="1.0" encoding="utf-8"?>
<p:tagLst xmlns:p="http://schemas.openxmlformats.org/presentationml/2006/main">
  <p:tag name="KSO_WM_BEAUTIFY_FLAG" val=""/>
</p:tagLst>
</file>

<file path=ppt/tags/tag40.xml><?xml version="1.0" encoding="utf-8"?>
<p:tagLst xmlns:p="http://schemas.openxmlformats.org/presentationml/2006/main">
  <p:tag name="KSO_WM_BEAUTIFY_FLAG" val=""/>
</p:tagLst>
</file>

<file path=ppt/tags/tag41.xml><?xml version="1.0" encoding="utf-8"?>
<p:tagLst xmlns:p="http://schemas.openxmlformats.org/presentationml/2006/main">
  <p:tag name="KSO_WM_BEAUTIFY_FLAG" val=""/>
</p:tagLst>
</file>

<file path=ppt/tags/tag42.xml><?xml version="1.0" encoding="utf-8"?>
<p:tagLst xmlns:p="http://schemas.openxmlformats.org/presentationml/2006/main">
  <p:tag name="KSO_WM_BEAUTIFY_FLAG" val=""/>
</p:tagLst>
</file>

<file path=ppt/tags/tag43.xml><?xml version="1.0" encoding="utf-8"?>
<p:tagLst xmlns:p="http://schemas.openxmlformats.org/presentationml/2006/main">
  <p:tag name="KSO_WM_BEAUTIFY_FLAG" val=""/>
</p:tagLst>
</file>

<file path=ppt/tags/tag44.xml><?xml version="1.0" encoding="utf-8"?>
<p:tagLst xmlns:p="http://schemas.openxmlformats.org/presentationml/2006/main">
  <p:tag name="KSO_WM_BEAUTIFY_FLAG" val=""/>
</p:tagLst>
</file>

<file path=ppt/tags/tag45.xml><?xml version="1.0" encoding="utf-8"?>
<p:tagLst xmlns:p="http://schemas.openxmlformats.org/presentationml/2006/main">
  <p:tag name="KSO_WM_BEAUTIFY_FLAG" val=""/>
</p:tagLst>
</file>

<file path=ppt/tags/tag46.xml><?xml version="1.0" encoding="utf-8"?>
<p:tagLst xmlns:p="http://schemas.openxmlformats.org/presentationml/2006/main">
  <p:tag name="KSO_WM_BEAUTIFY_FLAG" val=""/>
</p:tagLst>
</file>

<file path=ppt/tags/tag47.xml><?xml version="1.0" encoding="utf-8"?>
<p:tagLst xmlns:p="http://schemas.openxmlformats.org/presentationml/2006/main">
  <p:tag name="KSO_WM_BEAUTIFY_FLAG" val=""/>
</p:tagLst>
</file>

<file path=ppt/tags/tag48.xml><?xml version="1.0" encoding="utf-8"?>
<p:tagLst xmlns:p="http://schemas.openxmlformats.org/presentationml/2006/main">
  <p:tag name="KSO_WM_BEAUTIFY_FLAG" val=""/>
</p:tagLst>
</file>

<file path=ppt/tags/tag49.xml><?xml version="1.0" encoding="utf-8"?>
<p:tagLst xmlns:p="http://schemas.openxmlformats.org/presentationml/2006/main">
  <p:tag name="KSO_WM_BEAUTIFY_FLAG" val=""/>
</p:tagLst>
</file>

<file path=ppt/tags/tag5.xml><?xml version="1.0" encoding="utf-8"?>
<p:tagLst xmlns:p="http://schemas.openxmlformats.org/presentationml/2006/main">
  <p:tag name="KSO_WM_BEAUTIFY_FLAG" val=""/>
</p:tagLst>
</file>

<file path=ppt/tags/tag5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065_2*m_h_i*1_3_2"/>
  <p:tag name="KSO_WM_TEMPLATE_CATEGORY" val="diagram"/>
  <p:tag name="KSO_WM_TEMPLATE_INDEX" val="20231065"/>
  <p:tag name="KSO_WM_UNIT_LAYERLEVEL" val="1_1_1"/>
  <p:tag name="KSO_WM_TAG_VERSION" val="3.0"/>
  <p:tag name="KSO_WM_DIAGRAM_VERSION" val="3"/>
  <p:tag name="KSO_WM_DIAGRAM_COLOR_TRICK" val="4"/>
  <p:tag name="KSO_WM_DIAGRAM_COLOR_TEXT_CAN_REMOVE" val="n"/>
  <p:tag name="KSO_WM_DIAGRAM_GROUP_CODE" val="m1-1"/>
  <p:tag name="KSO_WM_UNIT_TYPE" val="m_h_i"/>
  <p:tag name="KSO_WM_UNIT_INDEX" val="1_3_2"/>
  <p:tag name="KSO_WM_UNIT_FILL_FORE_SCHEMECOLOR_INDEX" val="7"/>
  <p:tag name="KSO_WM_DIAGRAM_MAX_ITEMCNT" val="6"/>
  <p:tag name="KSO_WM_DIAGRAM_MIN_ITEMCNT" val="2"/>
  <p:tag name="KSO_WM_DIAGRAM_VIRTUALLY_FRAME" val="{&quot;height&quot;:385.20000000000005,&quot;width&quot;:937.25}"/>
  <p:tag name="KSO_WM_DIAGRAM_COLOR_MATCH_VALUE" val="{&quot;shape&quot;:{&quot;fill&quot;:{&quot;solid&quot;:{&quot;brightness&quot;:0,&quot;colorType&quot;:1,&quot;foreColorIndex&quot;:7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</p:tagLst>
</file>

<file path=ppt/tags/tag51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065_2*m_h_i*1_3_2"/>
  <p:tag name="KSO_WM_TEMPLATE_CATEGORY" val="diagram"/>
  <p:tag name="KSO_WM_TEMPLATE_INDEX" val="20231065"/>
  <p:tag name="KSO_WM_UNIT_LAYERLEVEL" val="1_1_1"/>
  <p:tag name="KSO_WM_TAG_VERSION" val="3.0"/>
  <p:tag name="KSO_WM_DIAGRAM_VERSION" val="3"/>
  <p:tag name="KSO_WM_DIAGRAM_COLOR_TRICK" val="4"/>
  <p:tag name="KSO_WM_DIAGRAM_COLOR_TEXT_CAN_REMOVE" val="n"/>
  <p:tag name="KSO_WM_DIAGRAM_GROUP_CODE" val="m1-1"/>
  <p:tag name="KSO_WM_UNIT_TYPE" val="m_h_i"/>
  <p:tag name="KSO_WM_UNIT_INDEX" val="1_3_2"/>
  <p:tag name="KSO_WM_UNIT_FILL_FORE_SCHEMECOLOR_INDEX" val="7"/>
  <p:tag name="KSO_WM_DIAGRAM_MAX_ITEMCNT" val="6"/>
  <p:tag name="KSO_WM_DIAGRAM_MIN_ITEMCNT" val="2"/>
  <p:tag name="KSO_WM_DIAGRAM_VIRTUALLY_FRAME" val="{&quot;height&quot;:385.20000000000005,&quot;width&quot;:937.25}"/>
  <p:tag name="KSO_WM_DIAGRAM_COLOR_MATCH_VALUE" val="{&quot;shape&quot;:{&quot;fill&quot;:{&quot;solid&quot;:{&quot;brightness&quot;:0,&quot;colorType&quot;:1,&quot;foreColorIndex&quot;:7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2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</p:tagLst>
</file>

<file path=ppt/tags/tag52.xml><?xml version="1.0" encoding="utf-8"?>
<p:tagLst xmlns:p="http://schemas.openxmlformats.org/presentationml/2006/main">
  <p:tag name="KSO_WM_BEAUTIFY_FLAG" val=""/>
</p:tagLst>
</file>

<file path=ppt/tags/tag53.xml><?xml version="1.0" encoding="utf-8"?>
<p:tagLst xmlns:p="http://schemas.openxmlformats.org/presentationml/2006/main">
  <p:tag name="KSO_WM_BEAUTIFY_FLAG" val=""/>
</p:tagLst>
</file>

<file path=ppt/tags/tag5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554_2*m_h_i*1_1_1"/>
  <p:tag name="KSO_WM_TEMPLATE_CATEGORY" val="diagram"/>
  <p:tag name="KSO_WM_TEMPLATE_INDEX" val="20231554"/>
  <p:tag name="KSO_WM_UNIT_LAYERLEVEL" val="1_1_1"/>
  <p:tag name="KSO_WM_TAG_VERSION" val="3.0"/>
  <p:tag name="KSO_WM_BEAUTIFY_FLAG" val=""/>
  <p:tag name="KSO_WM_DIAGRAM_VERSION" val="3"/>
  <p:tag name="KSO_WM_DIAGRAM_GROUP_CODE" val="m1-1"/>
  <p:tag name="KSO_WM_UNIT_TYPE" val="m_h_i"/>
  <p:tag name="KSO_WM_UNIT_INDEX" val="1_1_1"/>
  <p:tag name="KSO_WM_DIAGRAM_COLOR_TRICK" val="4"/>
  <p:tag name="KSO_WM_DIAGRAM_COLOR_TEXT_CAN_REMOVE" val="n"/>
  <p:tag name="KSO_WM_UNIT_FILL_FORE_SCHEMECOLOR_INDEX" val="5"/>
  <p:tag name="KSO_WM_DIAGRAM_MAX_ITEMCNT" val="6"/>
  <p:tag name="KSO_WM_DIAGRAM_MIN_ITEMCNT" val="2"/>
  <p:tag name="KSO_WM_DIAGRAM_VIRTUALLY_FRAME" val="{&quot;height&quot;:300.69370078740155,&quot;width&quot;:856.2374015748031}"/>
  <p:tag name="KSO_WM_DIAGRAM_COLOR_MATCH_VALUE" val="{&quot;shape&quot;:{&quot;fill&quot;:{&quot;gradient&quot;:[{&quot;brightness&quot;:0,&quot;colorType&quot;:1,&quot;foreColorIndex&quot;:5,&quot;pos&quot;:1,&quot;transparency&quot;:0},{&quot;brightness&quot;:0,&quot;colorType&quot;:1,&quot;foreColorIndex&quot;:5,&quot;pos&quot;:0.4099999964237213,&quot;transparency&quot;:0},{&quot;brightness&quot;:0.4000000059604645,&quot;colorType&quot;:1,&quot;foreColorIndex&quot;:5,&quot;pos&quot;:0,&quot;transparency&quot;:0}],&quot;type&quot;:3},&quot;glow&quot;:{&quot;colorType&quot;:0},&quot;line&quot;:{&quot;type&quot;:0},&quot;shadow&quot;:{&quot;brightness&quot;:0,&quot;colorType&quot;:1,&quot;foreColorIndex&quot;:5,&quot;transparency&quot;:0.800000011920929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1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</p:tagLst>
</file>

<file path=ppt/tags/tag55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554_2*m_h_i*1_1_1"/>
  <p:tag name="KSO_WM_TEMPLATE_CATEGORY" val="diagram"/>
  <p:tag name="KSO_WM_TEMPLATE_INDEX" val="20231554"/>
  <p:tag name="KSO_WM_UNIT_LAYERLEVEL" val="1_1_1"/>
  <p:tag name="KSO_WM_TAG_VERSION" val="3.0"/>
  <p:tag name="KSO_WM_BEAUTIFY_FLAG" val=""/>
  <p:tag name="KSO_WM_DIAGRAM_VERSION" val="3"/>
  <p:tag name="KSO_WM_DIAGRAM_GROUP_CODE" val="m1-1"/>
  <p:tag name="KSO_WM_UNIT_TYPE" val="m_h_i"/>
  <p:tag name="KSO_WM_UNIT_INDEX" val="1_1_1"/>
  <p:tag name="KSO_WM_DIAGRAM_COLOR_TRICK" val="4"/>
  <p:tag name="KSO_WM_DIAGRAM_COLOR_TEXT_CAN_REMOVE" val="n"/>
  <p:tag name="KSO_WM_UNIT_FILL_FORE_SCHEMECOLOR_INDEX" val="5"/>
  <p:tag name="KSO_WM_DIAGRAM_MAX_ITEMCNT" val="6"/>
  <p:tag name="KSO_WM_DIAGRAM_MIN_ITEMCNT" val="2"/>
  <p:tag name="KSO_WM_DIAGRAM_VIRTUALLY_FRAME" val="{&quot;height&quot;:300.69370078740155,&quot;width&quot;:856.2374015748031}"/>
  <p:tag name="KSO_WM_DIAGRAM_COLOR_MATCH_VALUE" val="{&quot;shape&quot;:{&quot;fill&quot;:{&quot;gradient&quot;:[{&quot;brightness&quot;:0,&quot;colorType&quot;:1,&quot;foreColorIndex&quot;:5,&quot;pos&quot;:1,&quot;transparency&quot;:0},{&quot;brightness&quot;:0,&quot;colorType&quot;:1,&quot;foreColorIndex&quot;:5,&quot;pos&quot;:0.4099999964237213,&quot;transparency&quot;:0},{&quot;brightness&quot;:0.4000000059604645,&quot;colorType&quot;:1,&quot;foreColorIndex&quot;:5,&quot;pos&quot;:0,&quot;transparency&quot;:0}],&quot;type&quot;:3},&quot;glow&quot;:{&quot;colorType&quot;:0},&quot;line&quot;:{&quot;type&quot;:0},&quot;shadow&quot;:{&quot;brightness&quot;:0,&quot;colorType&quot;:1,&quot;foreColorIndex&quot;:5,&quot;transparency&quot;:0.800000011920929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1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</p:tagLst>
</file>

<file path=ppt/tags/tag56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554_2*m_h_i*1_1_1"/>
  <p:tag name="KSO_WM_TEMPLATE_CATEGORY" val="diagram"/>
  <p:tag name="KSO_WM_TEMPLATE_INDEX" val="20231554"/>
  <p:tag name="KSO_WM_UNIT_LAYERLEVEL" val="1_1_1"/>
  <p:tag name="KSO_WM_TAG_VERSION" val="3.0"/>
  <p:tag name="KSO_WM_BEAUTIFY_FLAG" val=""/>
  <p:tag name="KSO_WM_DIAGRAM_VERSION" val="3"/>
  <p:tag name="KSO_WM_DIAGRAM_GROUP_CODE" val="m1-1"/>
  <p:tag name="KSO_WM_UNIT_TYPE" val="m_h_i"/>
  <p:tag name="KSO_WM_UNIT_INDEX" val="1_1_1"/>
  <p:tag name="KSO_WM_DIAGRAM_COLOR_TRICK" val="4"/>
  <p:tag name="KSO_WM_DIAGRAM_COLOR_TEXT_CAN_REMOVE" val="n"/>
  <p:tag name="KSO_WM_UNIT_FILL_FORE_SCHEMECOLOR_INDEX" val="5"/>
  <p:tag name="KSO_WM_DIAGRAM_MAX_ITEMCNT" val="6"/>
  <p:tag name="KSO_WM_DIAGRAM_MIN_ITEMCNT" val="2"/>
  <p:tag name="KSO_WM_DIAGRAM_VIRTUALLY_FRAME" val="{&quot;height&quot;:300.69370078740155,&quot;width&quot;:856.2374015748031}"/>
  <p:tag name="KSO_WM_DIAGRAM_COLOR_MATCH_VALUE" val="{&quot;shape&quot;:{&quot;fill&quot;:{&quot;gradient&quot;:[{&quot;brightness&quot;:0,&quot;colorType&quot;:1,&quot;foreColorIndex&quot;:5,&quot;pos&quot;:1,&quot;transparency&quot;:0},{&quot;brightness&quot;:0,&quot;colorType&quot;:1,&quot;foreColorIndex&quot;:5,&quot;pos&quot;:0.4099999964237213,&quot;transparency&quot;:0},{&quot;brightness&quot;:0.4000000059604645,&quot;colorType&quot;:1,&quot;foreColorIndex&quot;:5,&quot;pos&quot;:0,&quot;transparency&quot;:0}],&quot;type&quot;:3},&quot;glow&quot;:{&quot;colorType&quot;:0},&quot;line&quot;:{&quot;type&quot;:0},&quot;shadow&quot;:{&quot;brightness&quot;:0,&quot;colorType&quot;:1,&quot;foreColorIndex&quot;:5,&quot;transparency&quot;:0.800000011920929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1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</p:tagLst>
</file>

<file path=ppt/tags/tag57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554_2*m_h_i*1_1_1"/>
  <p:tag name="KSO_WM_TEMPLATE_CATEGORY" val="diagram"/>
  <p:tag name="KSO_WM_TEMPLATE_INDEX" val="20231554"/>
  <p:tag name="KSO_WM_UNIT_LAYERLEVEL" val="1_1_1"/>
  <p:tag name="KSO_WM_TAG_VERSION" val="3.0"/>
  <p:tag name="KSO_WM_BEAUTIFY_FLAG" val=""/>
  <p:tag name="KSO_WM_DIAGRAM_VERSION" val="3"/>
  <p:tag name="KSO_WM_DIAGRAM_GROUP_CODE" val="m1-1"/>
  <p:tag name="KSO_WM_UNIT_TYPE" val="m_h_i"/>
  <p:tag name="KSO_WM_UNIT_INDEX" val="1_1_1"/>
  <p:tag name="KSO_WM_DIAGRAM_COLOR_TRICK" val="4"/>
  <p:tag name="KSO_WM_DIAGRAM_COLOR_TEXT_CAN_REMOVE" val="n"/>
  <p:tag name="KSO_WM_UNIT_FILL_FORE_SCHEMECOLOR_INDEX" val="5"/>
  <p:tag name="KSO_WM_DIAGRAM_MAX_ITEMCNT" val="6"/>
  <p:tag name="KSO_WM_DIAGRAM_MIN_ITEMCNT" val="2"/>
  <p:tag name="KSO_WM_DIAGRAM_VIRTUALLY_FRAME" val="{&quot;height&quot;:300.69370078740155,&quot;width&quot;:856.2374015748031}"/>
  <p:tag name="KSO_WM_DIAGRAM_COLOR_MATCH_VALUE" val="{&quot;shape&quot;:{&quot;fill&quot;:{&quot;gradient&quot;:[{&quot;brightness&quot;:0,&quot;colorType&quot;:1,&quot;foreColorIndex&quot;:5,&quot;pos&quot;:1,&quot;transparency&quot;:0},{&quot;brightness&quot;:0,&quot;colorType&quot;:1,&quot;foreColorIndex&quot;:5,&quot;pos&quot;:0.4099999964237213,&quot;transparency&quot;:0},{&quot;brightness&quot;:0.4000000059604645,&quot;colorType&quot;:1,&quot;foreColorIndex&quot;:5,&quot;pos&quot;:0,&quot;transparency&quot;:0}],&quot;type&quot;:3},&quot;glow&quot;:{&quot;colorType&quot;:0},&quot;line&quot;:{&quot;type&quot;:0},&quot;shadow&quot;:{&quot;brightness&quot;:0,&quot;colorType&quot;:1,&quot;foreColorIndex&quot;:5,&quot;transparency&quot;:0.800000011920929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1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</p:tagLst>
</file>

<file path=ppt/tags/tag58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554_2*m_h_i*1_1_1"/>
  <p:tag name="KSO_WM_TEMPLATE_CATEGORY" val="diagram"/>
  <p:tag name="KSO_WM_TEMPLATE_INDEX" val="20231554"/>
  <p:tag name="KSO_WM_UNIT_LAYERLEVEL" val="1_1_1"/>
  <p:tag name="KSO_WM_TAG_VERSION" val="3.0"/>
  <p:tag name="KSO_WM_BEAUTIFY_FLAG" val=""/>
  <p:tag name="KSO_WM_DIAGRAM_VERSION" val="3"/>
  <p:tag name="KSO_WM_DIAGRAM_GROUP_CODE" val="m1-1"/>
  <p:tag name="KSO_WM_UNIT_TYPE" val="m_h_i"/>
  <p:tag name="KSO_WM_UNIT_INDEX" val="1_1_1"/>
  <p:tag name="KSO_WM_DIAGRAM_COLOR_TRICK" val="4"/>
  <p:tag name="KSO_WM_DIAGRAM_COLOR_TEXT_CAN_REMOVE" val="n"/>
  <p:tag name="KSO_WM_UNIT_FILL_FORE_SCHEMECOLOR_INDEX" val="5"/>
  <p:tag name="KSO_WM_DIAGRAM_MAX_ITEMCNT" val="6"/>
  <p:tag name="KSO_WM_DIAGRAM_MIN_ITEMCNT" val="2"/>
  <p:tag name="KSO_WM_DIAGRAM_VIRTUALLY_FRAME" val="{&quot;height&quot;:300.69370078740155,&quot;width&quot;:856.2374015748031}"/>
  <p:tag name="KSO_WM_DIAGRAM_COLOR_MATCH_VALUE" val="{&quot;shape&quot;:{&quot;fill&quot;:{&quot;gradient&quot;:[{&quot;brightness&quot;:0,&quot;colorType&quot;:1,&quot;foreColorIndex&quot;:5,&quot;pos&quot;:1,&quot;transparency&quot;:0},{&quot;brightness&quot;:0,&quot;colorType&quot;:1,&quot;foreColorIndex&quot;:5,&quot;pos&quot;:0.4099999964237213,&quot;transparency&quot;:0},{&quot;brightness&quot;:0.4000000059604645,&quot;colorType&quot;:1,&quot;foreColorIndex&quot;:5,&quot;pos&quot;:0,&quot;transparency&quot;:0}],&quot;type&quot;:3},&quot;glow&quot;:{&quot;colorType&quot;:0},&quot;line&quot;:{&quot;type&quot;:0},&quot;shadow&quot;:{&quot;brightness&quot;:0,&quot;colorType&quot;:1,&quot;foreColorIndex&quot;:5,&quot;transparency&quot;:0.800000011920929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1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</p:tagLst>
</file>

<file path=ppt/tags/tag59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554_2*m_h_i*1_1_1"/>
  <p:tag name="KSO_WM_TEMPLATE_CATEGORY" val="diagram"/>
  <p:tag name="KSO_WM_TEMPLATE_INDEX" val="20231554"/>
  <p:tag name="KSO_WM_UNIT_LAYERLEVEL" val="1_1_1"/>
  <p:tag name="KSO_WM_TAG_VERSION" val="3.0"/>
  <p:tag name="KSO_WM_BEAUTIFY_FLAG" val=""/>
  <p:tag name="KSO_WM_DIAGRAM_VERSION" val="3"/>
  <p:tag name="KSO_WM_DIAGRAM_GROUP_CODE" val="m1-1"/>
  <p:tag name="KSO_WM_UNIT_TYPE" val="m_h_i"/>
  <p:tag name="KSO_WM_UNIT_INDEX" val="1_1_1"/>
  <p:tag name="KSO_WM_DIAGRAM_COLOR_TRICK" val="4"/>
  <p:tag name="KSO_WM_DIAGRAM_COLOR_TEXT_CAN_REMOVE" val="n"/>
  <p:tag name="KSO_WM_UNIT_FILL_FORE_SCHEMECOLOR_INDEX" val="5"/>
  <p:tag name="KSO_WM_DIAGRAM_MAX_ITEMCNT" val="6"/>
  <p:tag name="KSO_WM_DIAGRAM_MIN_ITEMCNT" val="2"/>
  <p:tag name="KSO_WM_DIAGRAM_VIRTUALLY_FRAME" val="{&quot;height&quot;:300.69370078740155,&quot;width&quot;:856.2374015748031}"/>
  <p:tag name="KSO_WM_DIAGRAM_COLOR_MATCH_VALUE" val="{&quot;shape&quot;:{&quot;fill&quot;:{&quot;gradient&quot;:[{&quot;brightness&quot;:0,&quot;colorType&quot;:1,&quot;foreColorIndex&quot;:5,&quot;pos&quot;:1,&quot;transparency&quot;:0},{&quot;brightness&quot;:0,&quot;colorType&quot;:1,&quot;foreColorIndex&quot;:5,&quot;pos&quot;:0.4099999964237213,&quot;transparency&quot;:0},{&quot;brightness&quot;:0.4000000059604645,&quot;colorType&quot;:1,&quot;foreColorIndex&quot;:5,&quot;pos&quot;:0,&quot;transparency&quot;:0}],&quot;type&quot;:3},&quot;glow&quot;:{&quot;colorType&quot;:0},&quot;line&quot;:{&quot;type&quot;:0},&quot;shadow&quot;:{&quot;brightness&quot;:0,&quot;colorType&quot;:1,&quot;foreColorIndex&quot;:5,&quot;transparency&quot;:0.800000011920929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1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</p:tagLst>
</file>

<file path=ppt/tags/tag6.xml><?xml version="1.0" encoding="utf-8"?>
<p:tagLst xmlns:p="http://schemas.openxmlformats.org/presentationml/2006/main">
  <p:tag name="KSO_WM_BEAUTIFY_FLAG" val=""/>
</p:tagLst>
</file>

<file path=ppt/tags/tag60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554_2*m_h_i*1_1_1"/>
  <p:tag name="KSO_WM_TEMPLATE_CATEGORY" val="diagram"/>
  <p:tag name="KSO_WM_TEMPLATE_INDEX" val="20231554"/>
  <p:tag name="KSO_WM_UNIT_LAYERLEVEL" val="1_1_1"/>
  <p:tag name="KSO_WM_TAG_VERSION" val="3.0"/>
  <p:tag name="KSO_WM_BEAUTIFY_FLAG" val=""/>
  <p:tag name="KSO_WM_DIAGRAM_VERSION" val="3"/>
  <p:tag name="KSO_WM_DIAGRAM_GROUP_CODE" val="m1-1"/>
  <p:tag name="KSO_WM_UNIT_TYPE" val="m_h_i"/>
  <p:tag name="KSO_WM_UNIT_INDEX" val="1_1_1"/>
  <p:tag name="KSO_WM_DIAGRAM_COLOR_TRICK" val="4"/>
  <p:tag name="KSO_WM_DIAGRAM_COLOR_TEXT_CAN_REMOVE" val="n"/>
  <p:tag name="KSO_WM_UNIT_FILL_FORE_SCHEMECOLOR_INDEX" val="5"/>
  <p:tag name="KSO_WM_DIAGRAM_MAX_ITEMCNT" val="6"/>
  <p:tag name="KSO_WM_DIAGRAM_MIN_ITEMCNT" val="2"/>
  <p:tag name="KSO_WM_DIAGRAM_VIRTUALLY_FRAME" val="{&quot;height&quot;:300.69370078740155,&quot;width&quot;:856.2374015748031}"/>
  <p:tag name="KSO_WM_DIAGRAM_COLOR_MATCH_VALUE" val="{&quot;shape&quot;:{&quot;fill&quot;:{&quot;gradient&quot;:[{&quot;brightness&quot;:0,&quot;colorType&quot;:1,&quot;foreColorIndex&quot;:5,&quot;pos&quot;:1,&quot;transparency&quot;:0},{&quot;brightness&quot;:0,&quot;colorType&quot;:1,&quot;foreColorIndex&quot;:5,&quot;pos&quot;:0.4099999964237213,&quot;transparency&quot;:0},{&quot;brightness&quot;:0.4000000059604645,&quot;colorType&quot;:1,&quot;foreColorIndex&quot;:5,&quot;pos&quot;:0,&quot;transparency&quot;:0}],&quot;type&quot;:3},&quot;glow&quot;:{&quot;colorType&quot;:0},&quot;line&quot;:{&quot;type&quot;:0},&quot;shadow&quot;:{&quot;brightness&quot;:0,&quot;colorType&quot;:1,&quot;foreColorIndex&quot;:5,&quot;transparency&quot;:0.800000011920929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1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</p:tagLst>
</file>

<file path=ppt/tags/tag61.xml><?xml version="1.0" encoding="utf-8"?>
<p:tagLst xmlns:p="http://schemas.openxmlformats.org/presentationml/2006/main">
  <p:tag name="KSO_WM_BEAUTIFY_FLAG" val=""/>
</p:tagLst>
</file>

<file path=ppt/tags/tag62.xml><?xml version="1.0" encoding="utf-8"?>
<p:tagLst xmlns:p="http://schemas.openxmlformats.org/presentationml/2006/main">
  <p:tag name="KSO_WM_BEAUTIFY_FLAG" val=""/>
</p:tagLst>
</file>

<file path=ppt/tags/tag63.xml><?xml version="1.0" encoding="utf-8"?>
<p:tagLst xmlns:p="http://schemas.openxmlformats.org/presentationml/2006/main">
  <p:tag name="KSO_WM_BEAUTIFY_FLAG" val=""/>
</p:tagLst>
</file>

<file path=ppt/tags/tag64.xml><?xml version="1.0" encoding="utf-8"?>
<p:tagLst xmlns:p="http://schemas.openxmlformats.org/presentationml/2006/main">
  <p:tag name="KSO_WM_BEAUTIFY_FLAG" val=""/>
</p:tagLst>
</file>

<file path=ppt/tags/tag65.xml><?xml version="1.0" encoding="utf-8"?>
<p:tagLst xmlns:p="http://schemas.openxmlformats.org/presentationml/2006/main">
  <p:tag name="KSO_WM_BEAUTIFY_FLAG" val=""/>
</p:tagLst>
</file>

<file path=ppt/tags/tag66.xml><?xml version="1.0" encoding="utf-8"?>
<p:tagLst xmlns:p="http://schemas.openxmlformats.org/presentationml/2006/main">
  <p:tag name="KSO_WM_BEAUTIFY_FLAG" val=""/>
</p:tagLst>
</file>

<file path=ppt/tags/tag67.xml><?xml version="1.0" encoding="utf-8"?>
<p:tagLst xmlns:p="http://schemas.openxmlformats.org/presentationml/2006/main">
  <p:tag name="KSO_WM_BEAUTIFY_FLAG" val=""/>
</p:tagLst>
</file>

<file path=ppt/tags/tag68.xml><?xml version="1.0" encoding="utf-8"?>
<p:tagLst xmlns:p="http://schemas.openxmlformats.org/presentationml/2006/main">
  <p:tag name="KSO_WM_BEAUTIFY_FLAG" val=""/>
</p:tagLst>
</file>

<file path=ppt/tags/tag69.xml><?xml version="1.0" encoding="utf-8"?>
<p:tagLst xmlns:p="http://schemas.openxmlformats.org/presentationml/2006/main">
  <p:tag name="KSO_WM_BEAUTIFY_FLAG" val=""/>
</p:tagLst>
</file>

<file path=ppt/tags/tag7.xml><?xml version="1.0" encoding="utf-8"?>
<p:tagLst xmlns:p="http://schemas.openxmlformats.org/presentationml/2006/main">
  <p:tag name="KSO_WM_BEAUTIFY_FLAG" val=""/>
</p:tagLst>
</file>

<file path=ppt/tags/tag70.xml><?xml version="1.0" encoding="utf-8"?>
<p:tagLst xmlns:p="http://schemas.openxmlformats.org/presentationml/2006/main">
  <p:tag name="KSO_WM_BEAUTIFY_FLAG" val=""/>
</p:tagLst>
</file>

<file path=ppt/tags/tag71.xml><?xml version="1.0" encoding="utf-8"?>
<p:tagLst xmlns:p="http://schemas.openxmlformats.org/presentationml/2006/main">
  <p:tag name="KSO_WM_BEAUTIFY_FLAG" val=""/>
</p:tagLst>
</file>

<file path=ppt/tags/tag72.xml><?xml version="1.0" encoding="utf-8"?>
<p:tagLst xmlns:p="http://schemas.openxmlformats.org/presentationml/2006/main">
  <p:tag name="KSO_WM_BEAUTIFY_FLAG" val=""/>
</p:tagLst>
</file>

<file path=ppt/tags/tag73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554_2*m_h_i*1_1_1"/>
  <p:tag name="KSO_WM_TEMPLATE_CATEGORY" val="diagram"/>
  <p:tag name="KSO_WM_TEMPLATE_INDEX" val="20231554"/>
  <p:tag name="KSO_WM_UNIT_LAYERLEVEL" val="1_1_1"/>
  <p:tag name="KSO_WM_TAG_VERSION" val="3.0"/>
  <p:tag name="KSO_WM_BEAUTIFY_FLAG" val=""/>
  <p:tag name="KSO_WM_DIAGRAM_VERSION" val="3"/>
  <p:tag name="KSO_WM_DIAGRAM_GROUP_CODE" val="m1-1"/>
  <p:tag name="KSO_WM_UNIT_TYPE" val="m_h_i"/>
  <p:tag name="KSO_WM_UNIT_INDEX" val="1_1_1"/>
  <p:tag name="KSO_WM_DIAGRAM_COLOR_TRICK" val="4"/>
  <p:tag name="KSO_WM_DIAGRAM_COLOR_TEXT_CAN_REMOVE" val="n"/>
  <p:tag name="KSO_WM_UNIT_FILL_FORE_SCHEMECOLOR_INDEX" val="5"/>
  <p:tag name="KSO_WM_DIAGRAM_MAX_ITEMCNT" val="6"/>
  <p:tag name="KSO_WM_DIAGRAM_MIN_ITEMCNT" val="2"/>
  <p:tag name="KSO_WM_DIAGRAM_VIRTUALLY_FRAME" val="{&quot;height&quot;:300.69370078740155,&quot;width&quot;:856.2374015748031}"/>
  <p:tag name="KSO_WM_DIAGRAM_COLOR_MATCH_VALUE" val="{&quot;shape&quot;:{&quot;fill&quot;:{&quot;gradient&quot;:[{&quot;brightness&quot;:0,&quot;colorType&quot;:1,&quot;foreColorIndex&quot;:5,&quot;pos&quot;:1,&quot;transparency&quot;:0},{&quot;brightness&quot;:0,&quot;colorType&quot;:1,&quot;foreColorIndex&quot;:5,&quot;pos&quot;:0.4099999964237213,&quot;transparency&quot;:0},{&quot;brightness&quot;:0.4000000059604645,&quot;colorType&quot;:1,&quot;foreColorIndex&quot;:5,&quot;pos&quot;:0,&quot;transparency&quot;:0}],&quot;type&quot;:3},&quot;glow&quot;:{&quot;colorType&quot;:0},&quot;line&quot;:{&quot;type&quot;:0},&quot;shadow&quot;:{&quot;brightness&quot;:0,&quot;colorType&quot;:1,&quot;foreColorIndex&quot;:5,&quot;transparency&quot;:0.800000011920929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1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</p:tagLst>
</file>

<file path=ppt/tags/tag74.xml><?xml version="1.0" encoding="utf-8"?>
<p:tagLst xmlns:p="http://schemas.openxmlformats.org/presentationml/2006/main">
  <p:tag name="KSO_WM_UNIT_HIGHLIGHT" val="0"/>
  <p:tag name="KSO_WM_UNIT_COMPATIBLE" val="0"/>
  <p:tag name="KSO_WM_UNIT_DIAGRAM_ISNUMVISUAL" val="0"/>
  <p:tag name="KSO_WM_UNIT_DIAGRAM_ISREFERUNIT" val="0"/>
  <p:tag name="KSO_WM_UNIT_ID" val="diagram20231554_2*m_h_i*1_1_1"/>
  <p:tag name="KSO_WM_TEMPLATE_CATEGORY" val="diagram"/>
  <p:tag name="KSO_WM_TEMPLATE_INDEX" val="20231554"/>
  <p:tag name="KSO_WM_UNIT_LAYERLEVEL" val="1_1_1"/>
  <p:tag name="KSO_WM_TAG_VERSION" val="3.0"/>
  <p:tag name="KSO_WM_BEAUTIFY_FLAG" val=""/>
  <p:tag name="KSO_WM_DIAGRAM_VERSION" val="3"/>
  <p:tag name="KSO_WM_DIAGRAM_GROUP_CODE" val="m1-1"/>
  <p:tag name="KSO_WM_UNIT_TYPE" val="m_h_i"/>
  <p:tag name="KSO_WM_UNIT_INDEX" val="1_1_1"/>
  <p:tag name="KSO_WM_DIAGRAM_COLOR_TRICK" val="4"/>
  <p:tag name="KSO_WM_DIAGRAM_COLOR_TEXT_CAN_REMOVE" val="n"/>
  <p:tag name="KSO_WM_UNIT_FILL_FORE_SCHEMECOLOR_INDEX" val="5"/>
  <p:tag name="KSO_WM_DIAGRAM_MAX_ITEMCNT" val="6"/>
  <p:tag name="KSO_WM_DIAGRAM_MIN_ITEMCNT" val="2"/>
  <p:tag name="KSO_WM_DIAGRAM_VIRTUALLY_FRAME" val="{&quot;height&quot;:300.69370078740155,&quot;width&quot;:856.2374015748031}"/>
  <p:tag name="KSO_WM_DIAGRAM_COLOR_MATCH_VALUE" val="{&quot;shape&quot;:{&quot;fill&quot;:{&quot;gradient&quot;:[{&quot;brightness&quot;:0,&quot;colorType&quot;:1,&quot;foreColorIndex&quot;:5,&quot;pos&quot;:1,&quot;transparency&quot;:0},{&quot;brightness&quot;:0,&quot;colorType&quot;:1,&quot;foreColorIndex&quot;:5,&quot;pos&quot;:0.4099999964237213,&quot;transparency&quot;:0},{&quot;brightness&quot;:0.4000000059604645,&quot;colorType&quot;:1,&quot;foreColorIndex&quot;:5,&quot;pos&quot;:0,&quot;transparency&quot;:0}],&quot;type&quot;:3},&quot;glow&quot;:{&quot;colorType&quot;:0},&quot;line&quot;:{&quot;type&quot;:0},&quot;shadow&quot;:{&quot;brightness&quot;:0,&quot;colorType&quot;:1,&quot;foreColorIndex&quot;:5,&quot;transparency&quot;:0.800000011920929},&quot;threeD&quot;:{&quot;curvedSurface&quot;:{&quot;brightness&quot;:0,&quot;colorType&quot;:2,&quot;rgb&quot;:&quot;#000000&quot;},&quot;depth&quot;:{&quot;colorType&quot;:0}}},&quot;text&quot;:{&quot;fill&quot;:{&quot;solid&quot;:{&quot;brightness&quot;:0,&quot;colorType&quot;:1,&quot;foreColorIndex&quot;:1,&quot;transparency&quot;:0},&quot;type&quot;:1},&quot;glow&quot;:{&quot;colorType&quot;:0},&quot;line&quot;:{&quot;type&quot;:0},&quot;shadow&quot;:{&quot;colorType&quot;:0},&quot;threeD&quot;:{&quot;curvedSurface&quot;:{&quot;brightness&quot;:0,&quot;colorType&quot;:2,&quot;rgb&quot;:&quot;#000000&quot;},&quot;depth&quot;:{&quot;colorType&quot;:0}}}}"/>
</p:tagLst>
</file>

<file path=ppt/tags/tag75.xml><?xml version="1.0" encoding="utf-8"?>
<p:tagLst xmlns:p="http://schemas.openxmlformats.org/presentationml/2006/main">
  <p:tag name="KSO_WM_BEAUTIFY_FLAG" val=""/>
</p:tagLst>
</file>

<file path=ppt/tags/tag76.xml><?xml version="1.0" encoding="utf-8"?>
<p:tagLst xmlns:p="http://schemas.openxmlformats.org/presentationml/2006/main">
  <p:tag name="KSO_WM_BEAUTIFY_FLAG" val=""/>
</p:tagLst>
</file>

<file path=ppt/tags/tag77.xml><?xml version="1.0" encoding="utf-8"?>
<p:tagLst xmlns:p="http://schemas.openxmlformats.org/presentationml/2006/main">
  <p:tag name="KSO_WM_BEAUTIFY_FLAG" val=""/>
</p:tagLst>
</file>

<file path=ppt/tags/tag78.xml><?xml version="1.0" encoding="utf-8"?>
<p:tagLst xmlns:p="http://schemas.openxmlformats.org/presentationml/2006/main">
  <p:tag name="KSO_WM_BEAUTIFY_FLAG" val=""/>
</p:tagLst>
</file>

<file path=ppt/tags/tag79.xml><?xml version="1.0" encoding="utf-8"?>
<p:tagLst xmlns:p="http://schemas.openxmlformats.org/presentationml/2006/main">
  <p:tag name="KSO_WM_BEAUTIFY_FLAG" val=""/>
</p:tagLst>
</file>

<file path=ppt/tags/tag8.xml><?xml version="1.0" encoding="utf-8"?>
<p:tagLst xmlns:p="http://schemas.openxmlformats.org/presentationml/2006/main">
  <p:tag name="KSO_WM_BEAUTIFY_FLAG" val=""/>
</p:tagLst>
</file>

<file path=ppt/tags/tag80.xml><?xml version="1.0" encoding="utf-8"?>
<p:tagLst xmlns:p="http://schemas.openxmlformats.org/presentationml/2006/main">
  <p:tag name="KSO_WM_BEAUTIFY_FLAG" val=""/>
</p:tagLst>
</file>

<file path=ppt/tags/tag81.xml><?xml version="1.0" encoding="utf-8"?>
<p:tagLst xmlns:p="http://schemas.openxmlformats.org/presentationml/2006/main">
  <p:tag name="KSO_WM_BEAUTIFY_FLAG" val=""/>
</p:tagLst>
</file>

<file path=ppt/tags/tag82.xml><?xml version="1.0" encoding="utf-8"?>
<p:tagLst xmlns:p="http://schemas.openxmlformats.org/presentationml/2006/main">
  <p:tag name="KSO_WM_BEAUTIFY_FLAG" val=""/>
</p:tagLst>
</file>

<file path=ppt/tags/tag83.xml><?xml version="1.0" encoding="utf-8"?>
<p:tagLst xmlns:p="http://schemas.openxmlformats.org/presentationml/2006/main">
  <p:tag name="KSO_WM_BEAUTIFY_FLAG" val=""/>
</p:tagLst>
</file>

<file path=ppt/tags/tag84.xml><?xml version="1.0" encoding="utf-8"?>
<p:tagLst xmlns:p="http://schemas.openxmlformats.org/presentationml/2006/main">
  <p:tag name="KSO_WM_BEAUTIFY_FLAG" val=""/>
</p:tagLst>
</file>

<file path=ppt/tags/tag85.xml><?xml version="1.0" encoding="utf-8"?>
<p:tagLst xmlns:p="http://schemas.openxmlformats.org/presentationml/2006/main">
  <p:tag name="KSO_WM_BEAUTIFY_FLAG" val=""/>
</p:tagLst>
</file>

<file path=ppt/tags/tag86.xml><?xml version="1.0" encoding="utf-8"?>
<p:tagLst xmlns:p="http://schemas.openxmlformats.org/presentationml/2006/main">
  <p:tag name="KSO_WM_BEAUTIFY_FLAG" val=""/>
</p:tagLst>
</file>

<file path=ppt/tags/tag87.xml><?xml version="1.0" encoding="utf-8"?>
<p:tagLst xmlns:p="http://schemas.openxmlformats.org/presentationml/2006/main">
  <p:tag name="KSO_WM_BEAUTIFY_FLAG" val=""/>
</p:tagLst>
</file>

<file path=ppt/tags/tag88.xml><?xml version="1.0" encoding="utf-8"?>
<p:tagLst xmlns:p="http://schemas.openxmlformats.org/presentationml/2006/main">
  <p:tag name="KSO_WM_BEAUTIFY_FLAG" val=""/>
</p:tagLst>
</file>

<file path=ppt/tags/tag89.xml><?xml version="1.0" encoding="utf-8"?>
<p:tagLst xmlns:p="http://schemas.openxmlformats.org/presentationml/2006/main">
  <p:tag name="KSO_WM_BEAUTIFY_FLAG" val=""/>
</p:tagLst>
</file>

<file path=ppt/tags/tag9.xml><?xml version="1.0" encoding="utf-8"?>
<p:tagLst xmlns:p="http://schemas.openxmlformats.org/presentationml/2006/main">
  <p:tag name="KSO_WM_BEAUTIFY_FLAG" val=""/>
</p:tagLst>
</file>

<file path=ppt/tags/tag90.xml><?xml version="1.0" encoding="utf-8"?>
<p:tagLst xmlns:p="http://schemas.openxmlformats.org/presentationml/2006/main">
  <p:tag name="KSO_WM_BEAUTIFY_FLAG" val=""/>
</p:tagLst>
</file>

<file path=ppt/tags/tag91.xml><?xml version="1.0" encoding="utf-8"?>
<p:tagLst xmlns:p="http://schemas.openxmlformats.org/presentationml/2006/main">
  <p:tag name="KSO_WM_BEAUTIFY_FLAG" val=""/>
</p:tagLst>
</file>

<file path=ppt/tags/tag92.xml><?xml version="1.0" encoding="utf-8"?>
<p:tagLst xmlns:p="http://schemas.openxmlformats.org/presentationml/2006/main">
  <p:tag name="KSO_WM_BEAUTIFY_FLAG" val=""/>
</p:tagLst>
</file>

<file path=ppt/tags/tag93.xml><?xml version="1.0" encoding="utf-8"?>
<p:tagLst xmlns:p="http://schemas.openxmlformats.org/presentationml/2006/main">
  <p:tag name="KSO_WM_BEAUTIFY_FLAG" val=""/>
</p:tagLst>
</file>

<file path=ppt/tags/tag94.xml><?xml version="1.0" encoding="utf-8"?>
<p:tagLst xmlns:p="http://schemas.openxmlformats.org/presentationml/2006/main">
  <p:tag name="KSO_WM_BEAUTIFY_FLAG" val=""/>
</p:tagLst>
</file>

<file path=ppt/tags/tag95.xml><?xml version="1.0" encoding="utf-8"?>
<p:tagLst xmlns:p="http://schemas.openxmlformats.org/presentationml/2006/main">
  <p:tag name="KSO_WM_BEAUTIFY_FLAG" val=""/>
</p:tagLst>
</file>

<file path=ppt/tags/tag96.xml><?xml version="1.0" encoding="utf-8"?>
<p:tagLst xmlns:p="http://schemas.openxmlformats.org/presentationml/2006/main">
  <p:tag name="KSO_WM_BEAUTIFY_FLAG" val=""/>
</p:tagLst>
</file>

<file path=ppt/tags/tag97.xml><?xml version="1.0" encoding="utf-8"?>
<p:tagLst xmlns:p="http://schemas.openxmlformats.org/presentationml/2006/main">
  <p:tag name="KSO_WM_BEAUTIFY_FLAG" val=""/>
</p:tagLst>
</file>

<file path=ppt/tags/tag98.xml><?xml version="1.0" encoding="utf-8"?>
<p:tagLst xmlns:p="http://schemas.openxmlformats.org/presentationml/2006/main">
  <p:tag name="KSO_WM_BEAUTIFY_FLAG" val=""/>
</p:tagLst>
</file>

<file path=ppt/tags/tag99.xml><?xml version="1.0" encoding="utf-8"?>
<p:tagLst xmlns:p="http://schemas.openxmlformats.org/presentationml/2006/main">
  <p:tag name="KSO_WM_BEAUTIFY_FLAG" val=""/>
</p:tagLst>
</file>

<file path=ppt/theme/theme1.xml><?xml version="1.0" encoding="utf-8"?>
<a:theme xmlns:a="http://schemas.openxmlformats.org/drawingml/2006/main" name="2_Title Slide">
  <a:themeElements>
    <a:clrScheme name="2210">
      <a:dk1>
        <a:srgbClr val="1D1D1A"/>
      </a:dk1>
      <a:lt1>
        <a:srgbClr val="1D1D1A"/>
      </a:lt1>
      <a:dk2>
        <a:srgbClr val="FFFFFF"/>
      </a:dk2>
      <a:lt2>
        <a:srgbClr val="FFFFFF"/>
      </a:lt2>
      <a:accent1>
        <a:srgbClr val="C7000A"/>
      </a:accent1>
      <a:accent2>
        <a:srgbClr val="E9002F"/>
      </a:accent2>
      <a:accent3>
        <a:srgbClr val="F4A100"/>
      </a:accent3>
      <a:accent4>
        <a:srgbClr val="FFFF00"/>
      </a:accent4>
      <a:accent5>
        <a:srgbClr val="232323"/>
      </a:accent5>
      <a:accent6>
        <a:srgbClr val="666666"/>
      </a:accent6>
      <a:hlink>
        <a:srgbClr val="919191"/>
      </a:hlink>
      <a:folHlink>
        <a:srgbClr val="C4C4C4"/>
      </a:folHlink>
    </a:clrScheme>
    <a:fontScheme name="qipsaeux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solidFill>
          <a:schemeClr val="accent2"/>
        </a:solidFill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 dirty="0"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rtlCol="0">
        <a:spAutoFit/>
      </a:bodyPr>
      <a:lstStyle>
        <a:defPPr algn="l">
          <a:defRPr kumimoji="1" sz="3200" dirty="0" smtClean="0">
            <a:solidFill>
              <a:srgbClr val="575756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12_Office 主题">
  <a:themeElements>
    <a:clrScheme name="华为">
      <a:dk1>
        <a:srgbClr val="282828"/>
      </a:dk1>
      <a:lt1>
        <a:srgbClr val="FFFFFF"/>
      </a:lt1>
      <a:dk2>
        <a:srgbClr val="C7000B"/>
      </a:dk2>
      <a:lt2>
        <a:srgbClr val="777777"/>
      </a:lt2>
      <a:accent1>
        <a:srgbClr val="F66F6A"/>
      </a:accent1>
      <a:accent2>
        <a:srgbClr val="F7A655"/>
      </a:accent2>
      <a:accent3>
        <a:srgbClr val="FFDF4F"/>
      </a:accent3>
      <a:accent4>
        <a:srgbClr val="59C8D5"/>
      </a:accent4>
      <a:accent5>
        <a:srgbClr val="84D0A2"/>
      </a:accent5>
      <a:accent6>
        <a:srgbClr val="15B0E8"/>
      </a:accent6>
      <a:hlink>
        <a:srgbClr val="F7A655"/>
      </a:hlink>
      <a:folHlink>
        <a:srgbClr val="F66F6A"/>
      </a:folHlink>
    </a:clrScheme>
    <a:fontScheme name="华为">
      <a:majorFont>
        <a:latin typeface="Arial"/>
        <a:ea typeface="黑体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封面页_图片版 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Arial Black-Arial">
      <a:majorFont>
        <a:latin typeface="Arial Black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sz="3200" dirty="0" smtClean="0">
            <a:solidFill>
              <a:srgbClr val="000000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8_章节页">
  <a:themeElements>
    <a:clrScheme name="HuaWei colour 3">
      <a:dk1>
        <a:srgbClr val="1D1D1A"/>
      </a:dk1>
      <a:lt1>
        <a:srgbClr val="666666"/>
      </a:lt1>
      <a:dk2>
        <a:srgbClr val="FFFFFF"/>
      </a:dk2>
      <a:lt2>
        <a:srgbClr val="DDDDDD"/>
      </a:lt2>
      <a:accent1>
        <a:srgbClr val="E9002F"/>
      </a:accent1>
      <a:accent2>
        <a:srgbClr val="7F0000"/>
      </a:accent2>
      <a:accent3>
        <a:srgbClr val="ED6D00"/>
      </a:accent3>
      <a:accent4>
        <a:srgbClr val="FCC800"/>
      </a:accent4>
      <a:accent5>
        <a:srgbClr val="61B230"/>
      </a:accent5>
      <a:accent6>
        <a:srgbClr val="30B5C5"/>
      </a:accent6>
      <a:hlink>
        <a:srgbClr val="C7000B"/>
      </a:hlink>
      <a:folHlink>
        <a:srgbClr val="666666"/>
      </a:folHlink>
    </a:clrScheme>
    <a:fontScheme name="c0dkh2u5">
      <a:majorFont>
        <a:latin typeface="Arial"/>
        <a:ea typeface="微软雅黑"/>
        <a:cs typeface=""/>
      </a:majorFont>
      <a:minorFont>
        <a:latin typeface="Arial"/>
        <a:ea typeface="微软雅黑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>
    <a:spDef>
      <a:spPr>
        <a:noFill/>
        <a:ln>
          <a:noFill/>
        </a:ln>
      </a:spPr>
      <a:bodyPr rot="0" spcFirstLastPara="0" vertOverflow="overflow" horzOverflow="overflow" vert="horz" wrap="square" lIns="91440" tIns="45720" rIns="91440" bIns="45720" numCol="1" spcCol="0" rtlCol="0" fromWordArt="0" anchor="ctr" anchorCtr="0" forceAA="0" compatLnSpc="1">
        <a:noAutofit/>
      </a:bodyPr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txDef>
      <a:spPr>
        <a:noFill/>
      </a:spPr>
      <a:bodyPr wrap="square" lIns="0" tIns="0" rIns="0" bIns="0" rtlCol="0">
        <a:spAutoFit/>
      </a:bodyPr>
      <a:lstStyle>
        <a:defPPr algn="l">
          <a:defRPr kumimoji="1" dirty="0" smtClean="0">
            <a:solidFill>
              <a:srgbClr val="000000"/>
            </a:solidFill>
            <a:latin typeface="微软雅黑" panose="020B0503020204020204" pitchFamily="34" charset="-122"/>
            <a:ea typeface="微软雅黑" panose="020B0503020204020204" pitchFamily="34" charset="-122"/>
          </a:defRPr>
        </a:defPPr>
      </a:lstStyle>
    </a:txDef>
  </a:objectDefaul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otalTime>0</TotalTime>
  <Words>2146</Words>
  <Application>WPS 演示</Application>
  <PresentationFormat>自定义</PresentationFormat>
  <Paragraphs>316</Paragraphs>
  <Slides>6</Slides>
  <Notes>6</Notes>
  <HiddenSlides>0</HiddenSlides>
  <MMClips>0</MMClips>
  <ScaleCrop>false</ScaleCrop>
  <HeadingPairs>
    <vt:vector size="8" baseType="variant">
      <vt:variant>
        <vt:lpstr>已用的字体</vt:lpstr>
      </vt:variant>
      <vt:variant>
        <vt:i4>17</vt:i4>
      </vt:variant>
      <vt:variant>
        <vt:lpstr>主题</vt:lpstr>
      </vt:variant>
      <vt:variant>
        <vt:i4>4</vt:i4>
      </vt:variant>
      <vt:variant>
        <vt:lpstr>嵌入 OLE 服务器</vt:lpstr>
      </vt:variant>
      <vt:variant>
        <vt:i4>1</vt:i4>
      </vt:variant>
      <vt:variant>
        <vt:lpstr>幻灯片标题</vt:lpstr>
      </vt:variant>
      <vt:variant>
        <vt:i4>6</vt:i4>
      </vt:variant>
    </vt:vector>
  </HeadingPairs>
  <TitlesOfParts>
    <vt:vector size="28" baseType="lpstr">
      <vt:lpstr>Arial</vt:lpstr>
      <vt:lpstr>宋体</vt:lpstr>
      <vt:lpstr>Wingdings</vt:lpstr>
      <vt:lpstr>微软雅黑</vt:lpstr>
      <vt:lpstr>Wingdings 2</vt:lpstr>
      <vt:lpstr>FrutigerNext LT Regular</vt:lpstr>
      <vt:lpstr>Calibri</vt:lpstr>
      <vt:lpstr>Verdana</vt:lpstr>
      <vt:lpstr>Arial</vt:lpstr>
      <vt:lpstr>Calibri</vt:lpstr>
      <vt:lpstr>Huawei Sans</vt:lpstr>
      <vt:lpstr>Segoe Print</vt:lpstr>
      <vt:lpstr>等线</vt:lpstr>
      <vt:lpstr>思源宋体 CN</vt:lpstr>
      <vt:lpstr>Sitka Subheading</vt:lpstr>
      <vt:lpstr>Arial Unicode MS</vt:lpstr>
      <vt:lpstr>黑体</vt:lpstr>
      <vt:lpstr>2_Title Slide</vt:lpstr>
      <vt:lpstr>12_Office 主题</vt:lpstr>
      <vt:lpstr>封面页_图片版 </vt:lpstr>
      <vt:lpstr>18_章节页</vt:lpstr>
      <vt:lpstr>TCLayout.ActiveDocument.1</vt:lpstr>
      <vt:lpstr>PowerPoint 演示文稿</vt:lpstr>
      <vt:lpstr>PowerPoint 演示文稿</vt:lpstr>
      <vt:lpstr>PowerPoint 演示文稿</vt:lpstr>
      <vt:lpstr>PowerPoint 演示文稿</vt:lpstr>
      <vt:lpstr>PowerPoint 演示文稿</vt:lpstr>
      <vt:lpstr>PowerPoint 演示文稿</vt:lpstr>
    </vt:vector>
  </TitlesOfParts>
  <Company>Huawei Technologies Co.,Ltd.</Company>
  <LinksUpToDate>false</LinksUpToDate>
  <SharedDoc>false</SharedDoc>
  <HyperlinksChanged>false</HyperlinksChanged>
  <AppVersion>14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演示文稿</dc:title>
  <dc:creator>Wangpeng (Beijing, SmartCity Solution)</dc:creator>
  <cp:lastModifiedBy>ρυσσ</cp:lastModifiedBy>
  <cp:revision>143</cp:revision>
  <dcterms:created xsi:type="dcterms:W3CDTF">2020-08-28T08:44:00Z</dcterms:created>
  <dcterms:modified xsi:type="dcterms:W3CDTF">2024-07-16T07:01:04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_2015_ms_pID_725343">
    <vt:lpwstr>(3)P7+K3jtvhdB1SDGU0AYR1Mkkv1RebaR/HblTdYne2llqi8Jfomi0mCfOB9hoL6AXLJOdfRoL
rfiEwEhqvDRY/fLBaLsBB6tiD2tFAcgkVic84/W+WX4fn8BpNaNOZpGMci8TbhhuvcFqIQUj
Z2zfmn/tiDtkyRqDXWTWM1b24Qo5cHzTzU3oJULO8TiEshKL5wZLMIGNOYLDha8KQxC27lZB
UsacZ4OSBvp4/tFjcR</vt:lpwstr>
  </property>
  <property fmtid="{D5CDD505-2E9C-101B-9397-08002B2CF9AE}" pid="3" name="_2015_ms_pID_7253431">
    <vt:lpwstr>7TGRRug/8+rmDJVJUHTSEvqeJFp98eh+pTaSJbLk9972V2t2FYFSKP
4Pphwl7Nphf24qMyOkmMPIdOUgewuZaAbbsILGJHHkfrCgnqe+NypkYh4TZZTF41+43mdcMs
0D5QPFoYKK4morcCQBtEM7pijTq6RymvWcnaKXdsjeUiCIUQ7QDzGAKYu3IAs8nvXGthxlrA
gvDoJYN03DpHMLV6KF0ksAWhqm1uT11lsZtc</vt:lpwstr>
  </property>
  <property fmtid="{D5CDD505-2E9C-101B-9397-08002B2CF9AE}" pid="4" name="_2015_ms_pID_7253432">
    <vt:lpwstr>nQ==</vt:lpwstr>
  </property>
  <property fmtid="{D5CDD505-2E9C-101B-9397-08002B2CF9AE}" pid="5" name="_readonly">
    <vt:lpwstr/>
  </property>
  <property fmtid="{D5CDD505-2E9C-101B-9397-08002B2CF9AE}" pid="6" name="_change">
    <vt:lpwstr/>
  </property>
  <property fmtid="{D5CDD505-2E9C-101B-9397-08002B2CF9AE}" pid="7" name="_full-control">
    <vt:lpwstr/>
  </property>
  <property fmtid="{D5CDD505-2E9C-101B-9397-08002B2CF9AE}" pid="8" name="sflag">
    <vt:lpwstr>1598576536</vt:lpwstr>
  </property>
  <property fmtid="{D5CDD505-2E9C-101B-9397-08002B2CF9AE}" pid="9" name="ICV">
    <vt:lpwstr>567E89A5A386494EAD4F3FA37AA43A70_13</vt:lpwstr>
  </property>
  <property fmtid="{D5CDD505-2E9C-101B-9397-08002B2CF9AE}" pid="10" name="KSOProductBuildVer">
    <vt:lpwstr>2052-12.1.0.17147</vt:lpwstr>
  </property>
</Properties>
</file>